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9" r:id="rId4"/>
    <p:sldMasterId id="2147483653" r:id="rId5"/>
    <p:sldMasterId id="2147483715" r:id="rId6"/>
  </p:sldMasterIdLst>
  <p:notesMasterIdLst>
    <p:notesMasterId r:id="rId32"/>
  </p:notesMasterIdLst>
  <p:handoutMasterIdLst>
    <p:handoutMasterId r:id="rId33"/>
  </p:handoutMasterIdLst>
  <p:sldIdLst>
    <p:sldId id="447" r:id="rId7"/>
    <p:sldId id="450" r:id="rId8"/>
    <p:sldId id="457" r:id="rId9"/>
    <p:sldId id="451" r:id="rId10"/>
    <p:sldId id="452" r:id="rId11"/>
    <p:sldId id="453" r:id="rId12"/>
    <p:sldId id="454" r:id="rId13"/>
    <p:sldId id="455" r:id="rId14"/>
    <p:sldId id="329" r:id="rId15"/>
    <p:sldId id="428" r:id="rId16"/>
    <p:sldId id="429" r:id="rId17"/>
    <p:sldId id="431" r:id="rId18"/>
    <p:sldId id="432" r:id="rId19"/>
    <p:sldId id="437" r:id="rId20"/>
    <p:sldId id="442" r:id="rId21"/>
    <p:sldId id="439" r:id="rId22"/>
    <p:sldId id="443" r:id="rId23"/>
    <p:sldId id="444" r:id="rId24"/>
    <p:sldId id="445" r:id="rId25"/>
    <p:sldId id="435" r:id="rId26"/>
    <p:sldId id="436" r:id="rId27"/>
    <p:sldId id="446" r:id="rId28"/>
    <p:sldId id="441" r:id="rId29"/>
    <p:sldId id="420" r:id="rId30"/>
    <p:sldId id="258" r:id="rId31"/>
  </p:sldIdLst>
  <p:sldSz cx="9144000" cy="6858000" type="screen4x3"/>
  <p:notesSz cx="7010400" cy="92964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93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pos="5402">
          <p15:clr>
            <a:srgbClr val="A4A3A4"/>
          </p15:clr>
        </p15:guide>
        <p15:guide id="4" pos="3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47E46"/>
    <a:srgbClr val="444492"/>
    <a:srgbClr val="339933"/>
    <a:srgbClr val="989898"/>
    <a:srgbClr val="BCA36A"/>
    <a:srgbClr val="C2BD94"/>
    <a:srgbClr val="CBC6A1"/>
    <a:srgbClr val="2D403E"/>
    <a:srgbClr val="596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86" autoAdjust="0"/>
    <p:restoredTop sz="94629" autoAdjust="0"/>
  </p:normalViewPr>
  <p:slideViewPr>
    <p:cSldViewPr>
      <p:cViewPr varScale="1">
        <p:scale>
          <a:sx n="104" d="100"/>
          <a:sy n="104" d="100"/>
        </p:scale>
        <p:origin x="1884" y="108"/>
      </p:cViewPr>
      <p:guideLst>
        <p:guide orient="horz" pos="393"/>
        <p:guide orient="horz" pos="3884"/>
        <p:guide pos="5402"/>
        <p:guide pos="3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810" y="72"/>
      </p:cViewPr>
      <p:guideLst>
        <p:guide orient="horz" pos="292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2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t" anchorCtr="0" compatLnSpc="1">
            <a:prstTxWarp prst="textNoShape">
              <a:avLst/>
            </a:prstTxWarp>
          </a:bodyPr>
          <a:lstStyle>
            <a:lvl1pPr defTabSz="920124">
              <a:defRPr sz="1200"/>
            </a:lvl1pPr>
          </a:lstStyle>
          <a:p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82" y="2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t" anchorCtr="0" compatLnSpc="1">
            <a:prstTxWarp prst="textNoShape">
              <a:avLst/>
            </a:prstTxWarp>
          </a:bodyPr>
          <a:lstStyle>
            <a:lvl1pPr algn="r" defTabSz="920124">
              <a:defRPr sz="1200"/>
            </a:lvl1pPr>
          </a:lstStyle>
          <a:p>
            <a:endParaRPr lang="en-US"/>
          </a:p>
        </p:txBody>
      </p:sp>
      <p:sp>
        <p:nvSpPr>
          <p:cNvPr id="1105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6" y="8830091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b" anchorCtr="0" compatLnSpc="1">
            <a:prstTxWarp prst="textNoShape">
              <a:avLst/>
            </a:prstTxWarp>
          </a:bodyPr>
          <a:lstStyle>
            <a:lvl1pPr defTabSz="920124">
              <a:defRPr sz="1200"/>
            </a:lvl1pPr>
          </a:lstStyle>
          <a:p>
            <a:endParaRPr lang="en-US"/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82" y="8830091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b" anchorCtr="0" compatLnSpc="1">
            <a:prstTxWarp prst="textNoShape">
              <a:avLst/>
            </a:prstTxWarp>
          </a:bodyPr>
          <a:lstStyle>
            <a:lvl1pPr algn="r" defTabSz="920124">
              <a:defRPr sz="1200"/>
            </a:lvl1pPr>
          </a:lstStyle>
          <a:p>
            <a:fld id="{0DF2878E-8295-41CD-BBF8-E678FB2A27D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4693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2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t" anchorCtr="0" compatLnSpc="1">
            <a:prstTxWarp prst="textNoShape">
              <a:avLst/>
            </a:prstTxWarp>
          </a:bodyPr>
          <a:lstStyle>
            <a:lvl1pPr defTabSz="920124">
              <a:defRPr sz="1200"/>
            </a:lvl1pPr>
          </a:lstStyle>
          <a:p>
            <a:endParaRPr lang="fr-F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82" y="2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t" anchorCtr="0" compatLnSpc="1">
            <a:prstTxWarp prst="textNoShape">
              <a:avLst/>
            </a:prstTxWarp>
          </a:bodyPr>
          <a:lstStyle>
            <a:lvl1pPr algn="r" defTabSz="920124">
              <a:defRPr sz="1200"/>
            </a:lvl1pPr>
          </a:lstStyle>
          <a:p>
            <a:endParaRPr lang="fr-FR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1" y="4415791"/>
            <a:ext cx="5608320" cy="418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8830091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b" anchorCtr="0" compatLnSpc="1">
            <a:prstTxWarp prst="textNoShape">
              <a:avLst/>
            </a:prstTxWarp>
          </a:bodyPr>
          <a:lstStyle>
            <a:lvl1pPr defTabSz="920124">
              <a:defRPr sz="1200"/>
            </a:lvl1pPr>
          </a:lstStyle>
          <a:p>
            <a:endParaRPr lang="fr-FR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82" y="8830091"/>
            <a:ext cx="3038386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8" tIns="46039" rIns="92078" bIns="46039" numCol="1" anchor="b" anchorCtr="0" compatLnSpc="1">
            <a:prstTxWarp prst="textNoShape">
              <a:avLst/>
            </a:prstTxWarp>
          </a:bodyPr>
          <a:lstStyle>
            <a:lvl1pPr algn="r" defTabSz="920124">
              <a:defRPr sz="1200"/>
            </a:lvl1pPr>
          </a:lstStyle>
          <a:p>
            <a:fld id="{6C1EDD53-38AA-4BBF-AA60-926FB93BCBE6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90809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792C17-AD08-4E4C-AB6D-1035F7AC396F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2973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EDD53-38AA-4BBF-AA60-926FB93BCBE6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9324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315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625475"/>
            <a:ext cx="7935913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96261" name="Rectangle 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FDA61D80-CF2D-448D-8375-B1AE71FBCEA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6301" name="Rectangle 4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pic>
        <p:nvPicPr>
          <p:cNvPr id="96308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08725"/>
            <a:ext cx="15843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06D2B08A-1E86-470B-9B0A-ED71961483A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214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24625" y="284163"/>
            <a:ext cx="1965325" cy="5354637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7063" y="284163"/>
            <a:ext cx="5745162" cy="5354637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41B2D02-FFA2-4F6C-8795-0C48A43AEDF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2866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810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625475"/>
            <a:ext cx="7935913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8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pour modifier le style du titre</a:t>
            </a:r>
          </a:p>
        </p:txBody>
      </p:sp>
      <p:sp>
        <p:nvSpPr>
          <p:cNvPr id="1198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pour modifier le style des sous-titres du masque</a:t>
            </a:r>
          </a:p>
        </p:txBody>
      </p:sp>
      <p:sp>
        <p:nvSpPr>
          <p:cNvPr id="119813" name="Rectangle 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4768D389-74EC-46EF-8D03-3ECF3C6BAEEE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119814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4211638" y="6381750"/>
            <a:ext cx="3849687" cy="284163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Biostatistics</a:t>
            </a:r>
            <a:r>
              <a:rPr lang="fr-FR" dirty="0"/>
              <a:t> Management </a:t>
            </a:r>
            <a:r>
              <a:rPr lang="fr-FR" dirty="0" err="1"/>
              <a:t>Board</a:t>
            </a:r>
            <a:r>
              <a:rPr lang="fr-FR" dirty="0"/>
              <a:t> F2F – March 17-21, 2014 Bridgewater</a:t>
            </a:r>
          </a:p>
        </p:txBody>
      </p:sp>
      <p:pic>
        <p:nvPicPr>
          <p:cNvPr id="119815" name="Picture 7" descr="SANOFI_Logo_H_2011_Quadri copi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08725"/>
            <a:ext cx="15843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816" name="Picture 8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625475"/>
            <a:ext cx="7935913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817" name="Picture 9" descr="SANOFI_Logo_H_2011_Quadri copi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08725"/>
            <a:ext cx="15843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Biostatistics</a:t>
            </a:r>
            <a:r>
              <a:rPr lang="fr-FR" dirty="0"/>
              <a:t> Management </a:t>
            </a:r>
            <a:r>
              <a:rPr lang="fr-FR" dirty="0" err="1"/>
              <a:t>Board</a:t>
            </a:r>
            <a:r>
              <a:rPr lang="fr-FR" dirty="0"/>
              <a:t> F2F – </a:t>
            </a:r>
            <a:r>
              <a:rPr lang="fr-FR" dirty="0" err="1"/>
              <a:t>January</a:t>
            </a:r>
            <a:r>
              <a:rPr lang="fr-FR" dirty="0"/>
              <a:t> 17 - 21, 2014 – Bridgewater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2CA4D161-081E-4B5F-B944-4251042FFD77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22488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BB66A327-E10E-49B3-ACF6-6A8429D64CC9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7526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3" y="1390650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E33A237A-FAC5-4881-8EDB-523B27B8386A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710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5B28D786-4CFE-4998-BDE8-8E955C677042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993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FB3E6712-E6E3-4D18-A131-CC0BA15547CA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80479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FCA5B2FA-FE7B-42BF-8E43-F05E96993296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75270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75F028F6-6921-4440-B6B7-CC05759FF936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1456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E6902382-4D0E-464C-A2BF-721093B40B5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2636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40974E18-808A-4661-8DAA-072E5D6AF9FA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3756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276E4F93-6C13-41C9-A806-62096AE43741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86683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24625" y="284163"/>
            <a:ext cx="1965325" cy="5354637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7063" y="284163"/>
            <a:ext cx="5745162" cy="5354637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Biostatistics Management Board F2F – January 14 -17, 2013 – Chilly-Mazari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C58FCF85-A654-423C-93AF-72BF0B0DF904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38203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676938" y="4539425"/>
            <a:ext cx="6194012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, 24 pts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744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Picture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76939" y="5424000"/>
            <a:ext cx="6190065" cy="590931"/>
          </a:xfrm>
          <a:prstGeom prst="rect">
            <a:avLst/>
          </a:prstGeo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  <a:endParaRPr lang="en-US" dirty="0"/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2600745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Image 3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9" y="5725960"/>
            <a:ext cx="2015999" cy="575105"/>
          </a:xfrm>
          <a:prstGeom prst="rect">
            <a:avLst/>
          </a:prstGeom>
        </p:spPr>
      </p:pic>
      <p:grpSp>
        <p:nvGrpSpPr>
          <p:cNvPr id="10" name="Grouper 9"/>
          <p:cNvGrpSpPr/>
          <p:nvPr userDrawn="1"/>
        </p:nvGrpSpPr>
        <p:grpSpPr>
          <a:xfrm>
            <a:off x="293689" y="5516195"/>
            <a:ext cx="2307057" cy="988800"/>
            <a:chOff x="293688" y="4137146"/>
            <a:chExt cx="2307057" cy="741600"/>
          </a:xfrm>
        </p:grpSpPr>
        <p:cxnSp>
          <p:nvCxnSpPr>
            <p:cNvPr id="22" name="Connecteur droit 21"/>
            <p:cNvCxnSpPr/>
            <p:nvPr userDrawn="1"/>
          </p:nvCxnSpPr>
          <p:spPr>
            <a:xfrm>
              <a:off x="2600745" y="4137146"/>
              <a:ext cx="0" cy="7416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Image 22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688" y="4302432"/>
              <a:ext cx="2015999" cy="4313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6669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81" userDrawn="1">
          <p15:clr>
            <a:srgbClr val="FBAE40"/>
          </p15:clr>
        </p15:guide>
        <p15:guide id="2" orient="horz" pos="4096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3971" userDrawn="1">
          <p15:clr>
            <a:srgbClr val="FBAE40"/>
          </p15:clr>
        </p15:guide>
        <p15:guide id="7" orient="horz" pos="325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3BDB4E3-2F34-4FE5-AE5A-A80521A577F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344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3" y="1390650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597D2B7-7B16-4090-84AA-32EE3C97C13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6461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D8B9D56D-4799-49E9-BF68-351F607393A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002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7D14ED62-1736-4B90-9884-C9BB4CD7DB7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967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EC1FBDC1-01DD-4179-8288-28EAA3A89C5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766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FDD73F86-2962-484E-B209-FF7FC0FE87D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263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5B857391-347E-45E2-9913-D2520DFBBD0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869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6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3" y="284163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3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NAME OF PRESENTATION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5" y="6424613"/>
            <a:ext cx="4826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09F99E3A-3C5F-4075-BDFF-158C7FB7830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3117" name="Picture 45" descr="SANOFI_Logo_H_2011_Quadri copi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08725"/>
            <a:ext cx="15843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3" y="284163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187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3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1878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08400" y="6381750"/>
            <a:ext cx="4335463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i="1">
                <a:solidFill>
                  <a:srgbClr val="000000"/>
                </a:solidFill>
              </a:defRPr>
            </a:lvl1pPr>
          </a:lstStyle>
          <a:p>
            <a:r>
              <a:rPr lang="fr-FR" dirty="0"/>
              <a:t>Biostatistics Management </a:t>
            </a:r>
            <a:r>
              <a:rPr lang="fr-FR" dirty="0" err="1"/>
              <a:t>Board</a:t>
            </a:r>
            <a:r>
              <a:rPr lang="fr-FR" dirty="0"/>
              <a:t> F2F – March 14 -17, 2013 – Chilly-Mazarin</a:t>
            </a:r>
          </a:p>
        </p:txBody>
      </p:sp>
      <p:sp>
        <p:nvSpPr>
          <p:cNvPr id="1187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5" y="6424613"/>
            <a:ext cx="4826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r>
              <a:rPr lang="fr-FR"/>
              <a:t>|</a:t>
            </a:r>
            <a:r>
              <a:rPr lang="fr-FR" sz="900" baseline="16000"/>
              <a:t>        </a:t>
            </a:r>
            <a:fld id="{E4242EC9-A840-4F4E-AB63-2490A42B17EC}" type="slidenum">
              <a:rPr lang="fr-FR"/>
              <a:pPr/>
              <a:t>‹#›</a:t>
            </a:fld>
            <a:endParaRPr lang="fr-FR"/>
          </a:p>
        </p:txBody>
      </p:sp>
      <p:pic>
        <p:nvPicPr>
          <p:cNvPr id="118790" name="Picture 6" descr="SANOFI_Logo_H_2011_Quadri copi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08725"/>
            <a:ext cx="15843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791" name="Picture 7" descr="SANOFI_Logo_H_2011_Quadri copi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3" y="6308725"/>
            <a:ext cx="15843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82508"/>
            <a:ext cx="8420100" cy="4478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3837" y="4831175"/>
            <a:ext cx="663632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altLang="zh-CN"/>
              <a:t>DATE</a:t>
            </a:r>
            <a:endParaRPr lang="fr-FR" dirty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28" name="Image 2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75" y="6395268"/>
            <a:ext cx="900000" cy="256744"/>
          </a:xfrm>
          <a:prstGeom prst="rect">
            <a:avLst/>
          </a:prstGeom>
        </p:spPr>
      </p:pic>
      <p:cxnSp>
        <p:nvCxnSpPr>
          <p:cNvPr id="29" name="Connecteur droit 28"/>
          <p:cNvCxnSpPr/>
          <p:nvPr userDrawn="1"/>
        </p:nvCxnSpPr>
        <p:spPr>
          <a:xfrm>
            <a:off x="8958263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8575675" y="6460140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829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1041" userDrawn="1">
          <p15:clr>
            <a:srgbClr val="F26B43"/>
          </p15:clr>
        </p15:guide>
        <p15:guide id="9" orient="horz" pos="39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png"/><Relationship Id="rId2" Type="http://schemas.openxmlformats.org/officeDocument/2006/relationships/image" Target="../media/image261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media/130897/download" TargetMode="External"/><Relationship Id="rId2" Type="http://schemas.openxmlformats.org/officeDocument/2006/relationships/hyperlink" Target="https://www.fda.gov/media/78504/download" TargetMode="Externa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800" dirty="0">
              <a:latin typeface="Arial" panose="020B0604020202020204" pitchFamily="34" charset="0"/>
              <a:ea typeface="黑体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0" y="4437112"/>
            <a:ext cx="9144000" cy="2160240"/>
          </a:xfrm>
        </p:spPr>
        <p:txBody>
          <a:bodyPr/>
          <a:lstStyle/>
          <a:p>
            <a:pPr algn="ctr"/>
            <a:r>
              <a:rPr lang="en-US" altLang="zh-CN" sz="2400" dirty="0">
                <a:solidFill>
                  <a:schemeClr val="tx1"/>
                </a:solidFill>
              </a:rPr>
              <a:t>Historical data borrowing </a:t>
            </a:r>
            <a:r>
              <a:rPr lang="en-US" altLang="zh-CN" sz="2400">
                <a:solidFill>
                  <a:schemeClr val="tx1"/>
                </a:solidFill>
              </a:rPr>
              <a:t>for non-inferiority </a:t>
            </a:r>
            <a:r>
              <a:rPr lang="en-US" altLang="zh-CN" sz="2400" dirty="0">
                <a:solidFill>
                  <a:schemeClr val="tx1"/>
                </a:solidFill>
              </a:rPr>
              <a:t>assessment</a:t>
            </a:r>
            <a:br>
              <a:rPr lang="en-US" altLang="zh-CN" sz="2400" dirty="0">
                <a:solidFill>
                  <a:schemeClr val="tx1"/>
                </a:solidFill>
              </a:rPr>
            </a:br>
            <a:br>
              <a:rPr lang="en-US" altLang="zh-CN" sz="2800" dirty="0">
                <a:solidFill>
                  <a:srgbClr val="147E46"/>
                </a:solidFill>
              </a:rPr>
            </a:br>
            <a:r>
              <a:rPr lang="en-US" altLang="zh-CN" sz="2800" dirty="0">
                <a:solidFill>
                  <a:srgbClr val="147E46"/>
                </a:solidFill>
              </a:rPr>
              <a:t>              </a:t>
            </a:r>
            <a:r>
              <a:rPr lang="en-US" altLang="zh-CN" sz="2400" dirty="0">
                <a:solidFill>
                  <a:schemeClr val="tx1"/>
                </a:solidFill>
              </a:rPr>
              <a:t>Hui Quan </a:t>
            </a:r>
            <a:br>
              <a:rPr lang="en-US" altLang="zh-CN" sz="2400" dirty="0">
                <a:solidFill>
                  <a:schemeClr val="tx1"/>
                </a:solidFill>
              </a:rPr>
            </a:br>
            <a:r>
              <a:rPr lang="en-US" altLang="zh-CN" sz="2400" dirty="0">
                <a:solidFill>
                  <a:schemeClr val="tx1"/>
                </a:solidFill>
              </a:rPr>
              <a:t>                 DIA BSWG KOL Webinar Series</a:t>
            </a:r>
            <a:br>
              <a:rPr lang="en-US" sz="2400" dirty="0"/>
            </a:br>
            <a:r>
              <a:rPr lang="en-US" sz="2400" dirty="0"/>
              <a:t>                </a:t>
            </a:r>
            <a:r>
              <a:rPr lang="en-US" sz="2400" dirty="0">
                <a:solidFill>
                  <a:srgbClr val="000000"/>
                </a:solidFill>
              </a:rPr>
              <a:t>March</a:t>
            </a:r>
            <a:r>
              <a:rPr lang="en-US" altLang="zh-CN" sz="2400" dirty="0">
                <a:solidFill>
                  <a:srgbClr val="000000"/>
                </a:solidFill>
              </a:rPr>
              <a:t> 19, 2021</a:t>
            </a: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4" name="Espace réservé pour une image 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57251"/>
            <a:ext cx="9144000" cy="3466011"/>
          </a:xfrm>
        </p:spPr>
      </p:pic>
    </p:spTree>
    <p:extLst>
      <p:ext uri="{BB962C8B-B14F-4D97-AF65-F5344CB8AC3E}">
        <p14:creationId xmlns:p14="http://schemas.microsoft.com/office/powerpoint/2010/main" val="104768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332656"/>
            <a:ext cx="8712968" cy="648072"/>
          </a:xfrm>
        </p:spPr>
        <p:txBody>
          <a:bodyPr/>
          <a:lstStyle/>
          <a:p>
            <a:pPr algn="ctr"/>
            <a:r>
              <a:rPr lang="en-US" sz="3200" dirty="0"/>
              <a:t>Propensity score data matching and borrow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196752"/>
                <a:ext cx="8784977" cy="5040560"/>
              </a:xfrm>
            </p:spPr>
            <p:txBody>
              <a:bodyPr/>
              <a:lstStyle/>
              <a:p>
                <a:r>
                  <a:rPr lang="en-US" sz="2000" dirty="0"/>
                  <a:t>Suppose a propensity score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      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Pr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𝑆𝑡𝑢𝑑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𝑁𝐼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𝑟𝑖𝑎𝑙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</m:d>
                      </m:e>
                    </m:func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unc>
                          <m:func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ex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p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d>
                          </m:e>
                        </m:func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1+</m:t>
                        </m:r>
                        <m:func>
                          <m:func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xp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d>
                          </m:e>
                        </m:func>
                      </m:den>
                    </m:f>
                  </m:oMath>
                </a14:m>
                <a:endParaRPr lang="en-US" sz="2000" dirty="0"/>
              </a:p>
              <a:p>
                <a:pPr marL="346075" indent="0">
                  <a:buNone/>
                </a:pPr>
                <a:r>
                  <a:rPr lang="en-US" sz="2000" dirty="0"/>
                  <a:t>data matching approach is used to borrow data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2000" dirty="0"/>
                  <a:t> patients of B of the historical study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sz="2000" dirty="0"/>
                  <a:t>)  </a:t>
                </a:r>
              </a:p>
              <a:p>
                <a:r>
                  <a:rPr lang="en-US" dirty="0"/>
                  <a:t>Let 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</m:acc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 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</m:oMath>
                </a14:m>
                <a:r>
                  <a:rPr lang="en-US" dirty="0"/>
                  <a:t>) </a:t>
                </a:r>
              </a:p>
              <a:p>
                <a:pPr marL="0" indent="0">
                  <a:buNone/>
                </a:pPr>
                <a:r>
                  <a:rPr lang="en-US" dirty="0"/>
                  <a:t>     be the estimator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400" dirty="0"/>
                  <a:t>.</a:t>
                </a:r>
              </a:p>
              <a:p>
                <a:pPr marL="0" indent="0">
                  <a:buNone/>
                </a:pPr>
                <a:r>
                  <a:rPr lang="en-US" sz="2400" dirty="0"/>
                  <a:t>   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𝐸</m:t>
                    </m:r>
                    <m:acc>
                      <m:accPr>
                        <m:chr m:val="̂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</m:acc>
                  </m:oMath>
                </a14:m>
                <a:r>
                  <a:rPr lang="en-US" dirty="0"/>
                  <a:t>=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𝛿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 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dirty="0"/>
                  <a:t>)+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den>
                    </m:f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+ 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[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−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</m:oMath>
                </a14:m>
                <a:r>
                  <a:rPr lang="en-US" dirty="0"/>
                  <a:t>)]</a:t>
                </a:r>
              </a:p>
              <a:p>
                <a:pPr marL="0" indent="0">
                  <a:buNone/>
                </a:pPr>
                <a:r>
                  <a:rPr lang="en-US" sz="2400" dirty="0"/>
                  <a:t>   </a:t>
                </a:r>
                <a:r>
                  <a:rPr lang="en-US" sz="2000" dirty="0"/>
                  <a:t>and</a:t>
                </a:r>
              </a:p>
              <a:p>
                <a:pPr marL="288925" indent="0">
                  <a:buNone/>
                </a:pPr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p>
                          <m:sSup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e>
                          <m:sup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𝑉𝑎𝑟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̂"/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</m:e>
                            </m:acc>
                          </m:e>
                        </m:d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d>
                      <m:d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sSup>
                              <m:sSup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  <m:sup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den>
                        </m:f>
                      </m:e>
                    </m:d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  <m:sup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sz="1600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160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𝐹</m:t>
                        </m:r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160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den>
                    </m:f>
                    <m:sSup>
                      <m:sSup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p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p>
                              <m:sSup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p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p>
                          <m:sSup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p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600" dirty="0"/>
              </a:p>
              <a:p>
                <a:pPr marL="0" indent="0">
                  <a:buNone/>
                </a:pPr>
                <a:endParaRPr lang="en-US" sz="800" dirty="0"/>
              </a:p>
              <a:p>
                <a:pPr marL="0" indent="0">
                  <a:buNone/>
                </a:pPr>
                <a:r>
                  <a:rPr lang="en-US" dirty="0"/>
                  <a:t>          Then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</m:acc>
                    <m:r>
                      <a:rPr lang="en-US" i="1">
                        <a:latin typeface="Cambria Math" panose="02040503050406030204" pitchFamily="18" charset="0"/>
                      </a:rPr>
                      <m:t>~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𝑁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dirty="0"/>
                  <a:t>.</a:t>
                </a:r>
                <a:endParaRPr lang="en-US" sz="2000" dirty="0"/>
              </a:p>
              <a:p>
                <a:pPr marL="0" indent="0">
                  <a:buNone/>
                </a:pPr>
                <a:endParaRPr lang="en-US" sz="24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196752"/>
                <a:ext cx="8784977" cy="5040560"/>
              </a:xfrm>
              <a:blipFill>
                <a:blip r:embed="rId2"/>
                <a:stretch>
                  <a:fillRect l="-2290" t="-35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3661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Unconditional type I error rate (1/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</p:spPr>
            <p:txBody>
              <a:bodyPr/>
              <a:lstStyle/>
              <a:p>
                <a:r>
                  <a:rPr lang="en-US" sz="2000" dirty="0"/>
                  <a:t>The unconditional type I error rate of rejecting (2) when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                     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acc>
                          <m:accPr>
                            <m:chr m:val="̂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</m:acc>
                      </m:num>
                      <m:den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𝜀</m:t>
                        </m:r>
                      </m:den>
                    </m:f>
                    <m:r>
                      <a:rPr lang="en-US" sz="2000" i="1"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r>
                  <a:rPr lang="en-US" sz="2000" dirty="0"/>
                  <a:t>     for the </a:t>
                </a:r>
                <a:r>
                  <a:rPr lang="en-US" sz="2000" dirty="0">
                    <a:solidFill>
                      <a:srgbClr val="FF0000"/>
                    </a:solidFill>
                  </a:rPr>
                  <a:t>synthesis propensity score data matching historical data borrowing </a:t>
                </a:r>
                <a:r>
                  <a:rPr lang="en-US" sz="2000" dirty="0"/>
                  <a:t>is</a:t>
                </a:r>
              </a:p>
              <a:p>
                <a:pPr marL="0" indent="0">
                  <a:buNone/>
                </a:pPr>
                <a:r>
                  <a:rPr lang="en-US" sz="2000" dirty="0"/>
                  <a:t>   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2000">
                            <a:latin typeface="Cambria Math" panose="02040503050406030204" pitchFamily="18" charset="0"/>
                          </a:rPr>
                          <m:t>Pr</m:t>
                        </m:r>
                      </m:fName>
                      <m:e>
                        <m:d>
                          <m:d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</m:e>
                            </m:acc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≤−</m:t>
                            </m:r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e>
                          <m:e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</m:e>
                        </m:d>
                      </m:e>
                    </m:func>
                    <m:r>
                      <a:rPr lang="en-US" sz="2000" i="1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sz="2000">
                        <a:latin typeface="Cambria Math" panose="02040503050406030204" pitchFamily="18" charset="0"/>
                      </a:rPr>
                      <m:t>P</m:t>
                    </m:r>
                    <m:func>
                      <m:func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2000">
                            <a:latin typeface="Cambria Math" panose="02040503050406030204" pitchFamily="18" charset="0"/>
                          </a:rPr>
                          <m:t>r</m:t>
                        </m:r>
                      </m:fName>
                      <m:e>
                        <m:d>
                          <m:d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acc>
                                  <m:accPr>
                                    <m:chr m:val="̂"/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</m:e>
                                </m:acc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𝛿</m:t>
                                </m:r>
                              </m:num>
                              <m:den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𝜀</m:t>
                                </m:r>
                              </m:den>
                            </m:f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≤−</m:t>
                            </m:r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m:rPr>
                                <m:lit/>
                              </m:rPr>
                              <a:rPr lang="en-US" sz="20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e>
                          <m:e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</m:e>
                        </m:d>
                      </m:e>
                    </m:func>
                    <m:r>
                      <a:rPr lang="en-US" sz="2000" i="1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sz="2000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m:rPr>
                            <m:lit/>
                          </m:rPr>
                          <a:rPr lang="en-US" sz="20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2000" dirty="0"/>
                  <a:t>.  </a:t>
                </a:r>
              </a:p>
              <a:p>
                <a:pPr marL="0" indent="0">
                  <a:buNone/>
                </a:pPr>
                <a:endParaRPr lang="en-US" sz="2000" dirty="0"/>
              </a:p>
              <a:p>
                <a:r>
                  <a:rPr lang="en-US" sz="2000" dirty="0"/>
                  <a:t>With the improvement of the standard of care, within treatment effect may attenuate over time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e>
                    </m:d>
                    <m:r>
                      <a:rPr lang="en-US" sz="2000" i="1">
                        <a:latin typeface="Cambria Math" panose="02040503050406030204" pitchFamily="18" charset="0"/>
                      </a:rPr>
                      <m:t>≥0</m:t>
                    </m:r>
                  </m:oMath>
                </a14:m>
                <a:r>
                  <a:rPr lang="en-US" sz="2000" dirty="0"/>
                  <a:t>. More likely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𝛿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 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sz="2000" dirty="0"/>
                  <a:t>)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≥ </m:t>
                    </m:r>
                  </m:oMath>
                </a14:m>
                <a:r>
                  <a:rPr lang="en-US" sz="2000" dirty="0"/>
                  <a:t>0 under (2) and type I error rate is controlled.</a:t>
                </a:r>
              </a:p>
              <a:p>
                <a:pPr marL="0" indent="0">
                  <a:buNone/>
                </a:pPr>
                <a:endParaRPr lang="en-US" sz="2000" dirty="0"/>
              </a:p>
              <a:p>
                <a:r>
                  <a:rPr lang="en-US" sz="2000" dirty="0"/>
                  <a:t>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2000" dirty="0"/>
                  <a:t>,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[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</m:sSub>
                      </m:e>
                    </m:d>
                    <m:r>
                      <a:rPr lang="en-US" sz="2000" i="1">
                        <a:latin typeface="Cambria Math" panose="02040503050406030204" pitchFamily="18" charset="0"/>
                      </a:rPr>
                      <m:t>−(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𝐻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</m:oMath>
                </a14:m>
                <a:r>
                  <a:rPr lang="en-US" sz="2000" dirty="0"/>
                  <a:t>)]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≥0</m:t>
                    </m:r>
                  </m:oMath>
                </a14:m>
                <a:r>
                  <a:rPr lang="en-US" sz="2000" dirty="0"/>
                  <a:t> should hold (or the constancy condition) in order for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𝛿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≥0</m:t>
                    </m:r>
                  </m:oMath>
                </a14:m>
                <a:r>
                  <a:rPr lang="en-US" sz="2000" dirty="0"/>
                  <a:t> to control the type I error rate, the case for the </a:t>
                </a:r>
                <a:r>
                  <a:rPr lang="en-US" sz="2000" dirty="0">
                    <a:solidFill>
                      <a:srgbClr val="FF0000"/>
                    </a:solidFill>
                  </a:rPr>
                  <a:t>frequentist synthesis method</a:t>
                </a:r>
                <a:r>
                  <a:rPr lang="en-US" sz="2000" dirty="0"/>
                  <a:t>. </a:t>
                </a:r>
              </a:p>
              <a:p>
                <a:pPr marL="0" indent="0">
                  <a:buNone/>
                </a:pPr>
                <a:endParaRPr lang="en-US" sz="24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  <a:blipFill>
                <a:blip r:embed="rId2"/>
                <a:stretch>
                  <a:fillRect l="-2236" t="-3507" r="-2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974748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Unconditional type I error rate (2/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</p:spPr>
            <p:txBody>
              <a:bodyPr/>
              <a:lstStyle/>
              <a:p>
                <a:r>
                  <a:rPr lang="en-US" sz="2000" dirty="0"/>
                  <a:t>With the </a:t>
                </a:r>
                <a:r>
                  <a:rPr lang="en-US" sz="2000" dirty="0">
                    <a:solidFill>
                      <a:srgbClr val="FF0000"/>
                    </a:solidFill>
                  </a:rPr>
                  <a:t>TCI propensity score data matching historical data borrowing </a:t>
                </a:r>
                <a:r>
                  <a:rPr lang="en-US" sz="2000" dirty="0"/>
                  <a:t>method, claim NI if</a:t>
                </a:r>
              </a:p>
              <a:p>
                <a:pPr marL="0" indent="0">
                  <a:buNone/>
                </a:pPr>
                <a:r>
                  <a:rPr lang="en-US" sz="2000" dirty="0"/>
                  <a:t>   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𝛿</m:t>
                        </m:r>
                      </m:e>
                    </m:acc>
                    <m:r>
                      <a:rPr lang="en-US" i="1"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(</m:t>
                    </m:r>
                    <m:rad>
                      <m:radPr>
                        <m:deg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sSup>
                                  <m:sSup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</m:e>
                                  <m:sup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sSubSup>
                                  <m:sSubSup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𝐻</m:t>
                                    </m:r>
                                  </m:sub>
                                  <m:sup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rad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ad>
                      <m:radPr>
                        <m:deg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𝐴𝐻</m:t>
                                </m:r>
                              </m:sub>
                            </m:sSub>
                          </m:den>
                        </m:f>
                      </m:e>
                    </m:rad>
                    <m:r>
                      <a:rPr lang="en-US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≝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𝜔</m:t>
                    </m:r>
                  </m:oMath>
                </a14:m>
                <a:endParaRPr lang="en-US" sz="2000" dirty="0"/>
              </a:p>
              <a:p>
                <a:endParaRPr lang="en-US" sz="800" dirty="0"/>
              </a:p>
              <a:p>
                <a:r>
                  <a:rPr lang="en-US" sz="2000" dirty="0"/>
                  <a:t>The unconditional type I error probability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P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r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acc>
                                  <m:accPr>
                                    <m:chr m:val="̂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</m:e>
                                </m:acc>
                              </m:num>
                              <m:den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𝜀</m:t>
                                </m:r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≤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𝜔</m:t>
                            </m:r>
                            <m:r>
                              <m:rPr>
                                <m:lit/>
                              </m:rPr>
                              <a:rPr lang="en-US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e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</m:e>
                        </m:d>
                      </m:e>
                    </m:func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𝛿</m:t>
                            </m:r>
                          </m:e>
                        </m:d>
                        <m:r>
                          <m:rPr>
                            <m:lit/>
                          </m:rPr>
                          <a:rPr lang="en-US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e>
                    </m:d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m:rPr>
                        <m:sty m:val="p"/>
                      </m:rPr>
                      <a:rPr lang="en-US" sz="2000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m:rPr>
                            <m:lit/>
                          </m:rPr>
                          <a:rPr lang="en-US" sz="20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e>
                    </m:d>
                  </m:oMath>
                </a14:m>
                <a:endParaRPr lang="en-US" sz="2000" dirty="0"/>
              </a:p>
              <a:p>
                <a:pPr marL="341313" indent="0">
                  <a:buNone/>
                </a:pPr>
                <a:r>
                  <a:rPr lang="en-US" sz="2000" dirty="0"/>
                  <a:t>is more likely controlled at least under the constancy assumption.</a:t>
                </a:r>
              </a:p>
              <a:p>
                <a:pPr marL="0" indent="0">
                  <a:buNone/>
                </a:pPr>
                <a:endParaRPr lang="en-US" sz="800" dirty="0"/>
              </a:p>
              <a:p>
                <a:r>
                  <a:rPr lang="en-US" sz="2000" dirty="0"/>
                  <a:t>One concern for historical data borrowing is the selection bias: borrowing historical data only if the historical study is positive: effect of B is significant.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If there is any bias, the bias should be in favor of B against the NI assessment and should not create any concern from the regulatory perspective.  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  <a:blipFill>
                <a:blip r:embed="rId2"/>
                <a:stretch>
                  <a:fillRect l="-2236" t="-35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16391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32656"/>
            <a:ext cx="8964487" cy="648072"/>
          </a:xfrm>
        </p:spPr>
        <p:txBody>
          <a:bodyPr/>
          <a:lstStyle/>
          <a:p>
            <a:pPr algn="ctr"/>
            <a:r>
              <a:rPr lang="en-US" sz="2800" dirty="0"/>
              <a:t>Conditional power and type I error probability (1/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</p:spPr>
            <p:txBody>
              <a:bodyPr/>
              <a:lstStyle/>
              <a:p>
                <a:r>
                  <a:rPr lang="en-US" sz="2000" dirty="0"/>
                  <a:t>Historical data have already been observed and fixed when the NI trial is designed. </a:t>
                </a:r>
              </a:p>
              <a:p>
                <a:pPr marL="57150" indent="-57150"/>
                <a:endParaRPr lang="en-US" sz="800" dirty="0"/>
              </a:p>
              <a:p>
                <a:r>
                  <a:rPr lang="en-US" sz="2000" dirty="0"/>
                  <a:t>For the synthesis propensity score method, the conditional probability of claiming NI</a:t>
                </a:r>
                <a:endParaRPr lang="en-US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mtClean="0">
                        <a:latin typeface="Cambria Math" panose="02040503050406030204" pitchFamily="18" charset="0"/>
                      </a:rPr>
                      <m:t>P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r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en-US" i="1">
                                                <a:latin typeface="Cambria Math" panose="02040503050406030204" pitchFamily="18" charset="0"/>
                                              </a:rPr>
                                              <m:t>𝜇</m:t>
                                            </m:r>
                                          </m:e>
                                        </m:acc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</m:e>
                                </m:d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≤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𝐴𝐻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𝐻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+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e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𝐴𝐻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e>
                        </m:d>
                      </m:e>
                    </m:func>
                  </m:oMath>
                </a14:m>
                <a:r>
                  <a:rPr lang="en-US" sz="2000" dirty="0">
                    <a:effectLst/>
                  </a:rPr>
                  <a:t> </a:t>
                </a:r>
                <a:r>
                  <a:rPr lang="en-US" dirty="0"/>
                  <a:t> </a:t>
                </a:r>
                <a:r>
                  <a:rPr lang="en-US" sz="2000" dirty="0"/>
                  <a:t>or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mtClean="0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𝐴𝐻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𝐻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+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𝜀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  <m:rad>
                              <m:radPr>
                                <m:deg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radPr>
                              <m:deg/>
                              <m:e>
                                <m:f>
                                  <m:f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(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𝐻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en-US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  <m:sSup>
                                      <m:sSup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)</m:t>
                                        </m:r>
                                      </m:e>
                                      <m:sup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p>
                                  </m:den>
                                </m:f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</m:sub>
                                    </m:sSub>
                                  </m:den>
                                </m:f>
                              </m:e>
                            </m:rad>
                          </m:den>
                        </m:f>
                      </m:e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,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</m:e>
                    </m:d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r>
                  <a:rPr lang="en-US" sz="2000" dirty="0"/>
                  <a:t>For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1−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dirty="0"/>
                  <a:t> conditional power, the sample sizes and the parameters should 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                   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𝐴𝐻</m:t>
                                </m:r>
                              </m:sub>
                            </m:sSub>
                          </m:e>
                        </m:d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acc>
                                  <m:accPr>
                                    <m:chr m:val="̂"/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+ 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𝜀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𝜎</m:t>
                        </m:r>
                        <m:rad>
                          <m:radPr>
                            <m:degHide m:val="on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sSup>
                                  <m:sSup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</m:e>
                                  <m:sup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sub>
                                </m:sSub>
                              </m:den>
                            </m:f>
                          </m:e>
                        </m:rad>
                      </m:den>
                    </m:f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2000" dirty="0">
                    <a:effectLst/>
                  </a:rPr>
                  <a:t> </a:t>
                </a:r>
                <a:r>
                  <a:rPr lang="en-US" dirty="0"/>
                  <a:t> </a:t>
                </a:r>
              </a:p>
              <a:p>
                <a:pPr marL="0" indent="0">
                  <a:buNone/>
                </a:pPr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  <a:blipFill>
                <a:blip r:embed="rId2"/>
                <a:stretch>
                  <a:fillRect l="-2236" t="-35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91185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2800" dirty="0"/>
              <a:t>Conditional power and type I error probability (2/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</p:spPr>
            <p:txBody>
              <a:bodyPr/>
              <a:lstStyle/>
              <a:p>
                <a:r>
                  <a:rPr lang="en-US" sz="2000" dirty="0"/>
                  <a:t>For the two-confidence-interval propensity score data matching borrowing method, the conditional probability of claiming NI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𝐴𝐻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𝐻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acc>
                                      <m:accPr>
                                        <m:chr m:val="̂"/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+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den>
                            </m:f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𝜔</m:t>
                            </m:r>
                          </m:num>
                          <m:den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  <m:rad>
                              <m:radPr>
                                <m:degHide m:val="on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radPr>
                              <m:deg/>
                              <m:e>
                                <m:f>
                                  <m:f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(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𝐻</m:t>
                                        </m:r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en-US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  <m:sSup>
                                      <m:sSup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)</m:t>
                                        </m:r>
                                      </m:e>
                                      <m:sup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p>
                                    </m:sSup>
                                  </m:den>
                                </m:f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</m:sub>
                                    </m:sSub>
                                  </m:den>
                                </m:f>
                              </m:e>
                            </m:rad>
                          </m:den>
                        </m:f>
                      </m:e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,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</m:e>
                    </m:d>
                  </m:oMath>
                </a14:m>
                <a:endParaRPr lang="en-US" sz="2000" dirty="0"/>
              </a:p>
              <a:p>
                <a:endParaRPr lang="en-US" sz="1200" dirty="0"/>
              </a:p>
              <a:p>
                <a:endParaRPr lang="en-US" sz="2000" dirty="0"/>
              </a:p>
              <a:p>
                <a:r>
                  <a:rPr lang="en-US" sz="2000" dirty="0"/>
                  <a:t>The conditional type I error probability is the probability calculated under 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≥0</m:t>
                    </m:r>
                  </m:oMath>
                </a14:m>
                <a:r>
                  <a:rPr lang="en-US" dirty="0"/>
                  <a:t> or simpl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=0</m:t>
                    </m:r>
                  </m:oMath>
                </a14:m>
                <a:endParaRPr lang="en-US" sz="2000" dirty="0"/>
              </a:p>
              <a:p>
                <a:pPr lvl="1"/>
                <a:r>
                  <a:rPr lang="en-US" sz="1800" dirty="0"/>
                  <a:t>It is a function of the observed historical data and unknown parameters, therefore, may not always be controlled.</a:t>
                </a:r>
              </a:p>
              <a:p>
                <a:pPr lvl="1"/>
                <a:r>
                  <a:rPr lang="en-US" sz="1800" dirty="0"/>
                  <a:t>It should be around the expectation (unconditional one) which is controlled under the reasonable assumption.</a:t>
                </a:r>
              </a:p>
              <a:p>
                <a:pPr marL="0" indent="0">
                  <a:buNone/>
                </a:pPr>
                <a:r>
                  <a:rPr lang="en-US" sz="2000" dirty="0"/>
                  <a:t> 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  <a:blipFill>
                <a:blip r:embed="rId2"/>
                <a:stretch>
                  <a:fillRect l="-2236" t="-3507" r="-14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34530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Type I error rate of claiming efficacy of C vs 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268760"/>
                <a:ext cx="9001001" cy="4968552"/>
              </a:xfrm>
            </p:spPr>
            <p:txBody>
              <a:bodyPr/>
              <a:lstStyle/>
              <a:p>
                <a:r>
                  <a:rPr lang="en-US" sz="2000" dirty="0"/>
                  <a:t>The minimal requirement for a drug’s approval is to demonstrate its efficacy compared to placebo had a placebo in the trial. 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Since a placebo arm is absent in the NI trial, an indirect inference of the efficacy of C, at least implicitly, needs to be performed. 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The type I error rate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𝛿</m:t>
                        </m:r>
                        <m:r>
                          <m:rPr>
                            <m:lit/>
                          </m:rPr>
                          <a:rPr lang="en-US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0</m:t>
                        </m:r>
                      </m:e>
                    </m:d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sz="2000" dirty="0"/>
                  <a:t>     wher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𝛿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dirty="0"/>
                  <a:t>)+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den>
                    </m:f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</m:oMath>
                </a14:m>
                <a:r>
                  <a:rPr lang="en-US" dirty="0"/>
                  <a:t>) 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 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≥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dirty="0"/>
                  <a:t>)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2000" dirty="0"/>
                  <a:t>&gt;0</a:t>
                </a:r>
              </a:p>
              <a:p>
                <a:pPr marL="346075" indent="0">
                  <a:buNone/>
                </a:pPr>
                <a:r>
                  <a:rPr lang="en-US" sz="2000" dirty="0"/>
                  <a:t>is controlled if the treatment effect of B compared to A for the current study is at least F fraction of the one of the historical study. 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268760"/>
                <a:ext cx="9001001" cy="4968552"/>
              </a:xfrm>
              <a:blipFill>
                <a:blip r:embed="rId2"/>
                <a:stretch>
                  <a:fillRect l="-2236" t="-3681" r="-21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030686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Bayesian metho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</p:spPr>
            <p:txBody>
              <a:bodyPr/>
              <a:lstStyle/>
              <a:p>
                <a:r>
                  <a:rPr lang="en-US" sz="2000" dirty="0"/>
                  <a:t>Bayesian analysis is another way for historical data borrowing. The posterior distributions  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~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𝑁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sub>
                              <m:sup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𝐴𝐻</m:t>
                                </m:r>
                              </m:sub>
                            </m:sSub>
                          </m:den>
                        </m:f>
                        <m:r>
                          <a:rPr lang="en-US" sz="200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</m:oMath>
                </a14:m>
                <a:r>
                  <a:rPr lang="en-US" sz="2000" dirty="0"/>
                  <a:t>,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~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𝑁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sSub>
                                      <m:sSub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b="1" i="1" smtClean="0">
                                            <a:solidFill>
                                              <a:srgbClr val="FF0000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𝒑</m:t>
                                        </m:r>
                                        <m: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  <m:t>𝐵𝐻</m:t>
                                        </m:r>
                                      </m:sub>
                                    </m:sSub>
                                    <m:acc>
                                      <m:accPr>
                                        <m:chr m:val="̂"/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</m:num>
                              <m:den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𝐻</m:t>
                                    </m:r>
                                  </m:sub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sSub>
                                      <m:sSub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  <m:t>𝐵</m:t>
                                        </m:r>
                                      </m:sub>
                                    </m:sSub>
                                    <m:acc>
                                      <m:accPr>
                                        <m:chr m:val="̂"/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  <m:t>𝜇</m:t>
                                        </m:r>
                                      </m:e>
                                    </m:acc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/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</m:num>
                          <m:den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2000" b="1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</m:num>
                              <m:den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𝐻</m:t>
                                    </m:r>
                                  </m:sub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/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</m:den>
                        </m:f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b="1" i="1" smtClean="0">
                                        <a:solidFill>
                                          <a:srgbClr val="FF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𝒑</m:t>
                                    </m:r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</m:num>
                              <m:den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𝐻</m:t>
                                    </m:r>
                                  </m:sub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num>
                              <m:den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𝜎</m:t>
                                    </m:r>
                                  </m:e>
                                  <m:sub/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</m:den>
                        </m:f>
                        <m:r>
                          <a:rPr lang="en-US" sz="200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</m:oMath>
                </a14:m>
                <a:r>
                  <a:rPr lang="en-US" sz="2000" dirty="0"/>
                  <a:t>     and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~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𝑁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p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den>
                        </m:f>
                        <m:r>
                          <a:rPr lang="en-US" sz="200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</m:oMath>
                </a14:m>
                <a:r>
                  <a:rPr lang="en-US" sz="2000" dirty="0"/>
                  <a:t>. </a:t>
                </a:r>
              </a:p>
              <a:p>
                <a:r>
                  <a:rPr lang="en-US" sz="2000" dirty="0"/>
                  <a:t>The </a:t>
                </a:r>
                <a:r>
                  <a:rPr lang="en-US" sz="2000" b="1" dirty="0">
                    <a:solidFill>
                      <a:srgbClr val="FF0000"/>
                    </a:solidFill>
                  </a:rPr>
                  <a:t>p</a:t>
                </a:r>
                <a:r>
                  <a:rPr lang="en-US" sz="2000" dirty="0"/>
                  <a:t> is the power parameter for the power prior depending on consistency &amp; is capped for dynamic borrowing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The posterior distribution fo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200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</m:d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sz="2000" dirty="0"/>
                  <a:t> is for direct testing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                         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/>
                  <a:t>         (2)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With the attenuation of treatment effects over time and borrowing of historical data, type I error rate will more likely be controlled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There is no synthesis or two-confidence-interval approach in this case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196752"/>
                <a:ext cx="9001001" cy="5040560"/>
              </a:xfrm>
              <a:blipFill>
                <a:blip r:embed="rId2"/>
                <a:stretch>
                  <a:fillRect l="-2236" t="-3507" r="-23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4989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Example (1/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3" y="1268760"/>
            <a:ext cx="9001001" cy="4968552"/>
          </a:xfrm>
        </p:spPr>
        <p:txBody>
          <a:bodyPr/>
          <a:lstStyle/>
          <a:p>
            <a:r>
              <a:rPr lang="en-US" sz="2000" dirty="0"/>
              <a:t>A randomized trial with two primary endpoints, sample size was for the power for the first primary endpoint. The second primary endpoint will be used for the NI trial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Half of the lower bound of the 95% CI 3.67/2=</a:t>
            </a:r>
            <a:r>
              <a:rPr lang="en-US" sz="2000" dirty="0">
                <a:solidFill>
                  <a:srgbClr val="FF0000"/>
                </a:solidFill>
              </a:rPr>
              <a:t>1.84</a:t>
            </a:r>
            <a:r>
              <a:rPr lang="en-US" sz="2000" dirty="0"/>
              <a:t> can be used as the NI margin for the frequentist TCI fixed margin design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7</a:t>
            </a:fld>
            <a:endParaRPr lang="fr-FR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8BB1696-08D0-4FB1-B873-BFAF608F2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110744"/>
              </p:ext>
            </p:extLst>
          </p:nvPr>
        </p:nvGraphicFramePr>
        <p:xfrm>
          <a:off x="467544" y="2409440"/>
          <a:ext cx="8101782" cy="20276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88232">
                  <a:extLst>
                    <a:ext uri="{9D8B030D-6E8A-4147-A177-3AD203B41FA5}">
                      <a16:colId xmlns:a16="http://schemas.microsoft.com/office/drawing/2014/main" val="324454598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666849688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1294134658"/>
                    </a:ext>
                  </a:extLst>
                </a:gridCol>
                <a:gridCol w="1837086">
                  <a:extLst>
                    <a:ext uri="{9D8B030D-6E8A-4147-A177-3AD203B41FA5}">
                      <a16:colId xmlns:a16="http://schemas.microsoft.com/office/drawing/2014/main" val="283225570"/>
                    </a:ext>
                  </a:extLst>
                </a:gridCol>
              </a:tblGrid>
              <a:tr h="51472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ctive (n=150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lacebo (n=50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Differenc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19553833"/>
                  </a:ext>
                </a:extLst>
              </a:tr>
              <a:tr h="35863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Baseline (SD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5.41 (14.4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3.02 (15.7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23041470"/>
                  </a:ext>
                </a:extLst>
              </a:tr>
              <a:tr h="35863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Treatment End (SD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8.93 (16.3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1.72 (14.9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60524527"/>
                  </a:ext>
                </a:extLst>
              </a:tr>
              <a:tr h="76055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hange (95% CI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.52 (2.91, 4.13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−1.30 (−2.28, −0.32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4.82 (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</a:rPr>
                        <a:t>3.67</a:t>
                      </a:r>
                      <a:r>
                        <a:rPr lang="en-US" sz="1800" dirty="0">
                          <a:effectLst/>
                        </a:rPr>
                        <a:t>, 5.97) </a:t>
                      </a: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(p&lt;0.001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66068721"/>
                  </a:ext>
                </a:extLst>
              </a:tr>
            </a:tbl>
          </a:graphicData>
        </a:graphic>
      </p:graphicFrame>
      <p:sp>
        <p:nvSpPr>
          <p:cNvPr id="10" name="Rectangle 3">
            <a:extLst>
              <a:ext uri="{FF2B5EF4-FFF2-40B4-BE49-F238E27FC236}">
                <a16:creationId xmlns:a16="http://schemas.microsoft.com/office/drawing/2014/main" id="{5A6F0DEF-A47E-41F5-8A16-BB7C38F95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13" y="30448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2866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Example (2/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3" y="1268760"/>
            <a:ext cx="9001001" cy="4968552"/>
          </a:xfrm>
        </p:spPr>
        <p:txBody>
          <a:bodyPr/>
          <a:lstStyle/>
          <a:p>
            <a:r>
              <a:rPr lang="en-US" sz="2000" dirty="0"/>
              <a:t>Overall SD=3.76, significance level=0.025, propensity score 1:1 matching  data borrowing. 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1200" dirty="0"/>
          </a:p>
          <a:p>
            <a:r>
              <a:rPr lang="en-US" sz="2000" dirty="0"/>
              <a:t>For 1:2, the sample size for the NI trial could be reduced from </a:t>
            </a:r>
            <a:r>
              <a:rPr lang="en-US" sz="2000" dirty="0">
                <a:solidFill>
                  <a:srgbClr val="C00000"/>
                </a:solidFill>
              </a:rPr>
              <a:t>150 to 96 </a:t>
            </a:r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8</a:t>
            </a:fld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05048F34-1A07-4B53-BDAF-FAFE351E337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62057631"/>
                  </p:ext>
                </p:extLst>
              </p:nvPr>
            </p:nvGraphicFramePr>
            <p:xfrm>
              <a:off x="281460" y="2312875"/>
              <a:ext cx="8101782" cy="2484276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074516">
                      <a:extLst>
                        <a:ext uri="{9D8B030D-6E8A-4147-A177-3AD203B41FA5}">
                          <a16:colId xmlns:a16="http://schemas.microsoft.com/office/drawing/2014/main" val="335264446"/>
                        </a:ext>
                      </a:extLst>
                    </a:gridCol>
                    <a:gridCol w="648072">
                      <a:extLst>
                        <a:ext uri="{9D8B030D-6E8A-4147-A177-3AD203B41FA5}">
                          <a16:colId xmlns:a16="http://schemas.microsoft.com/office/drawing/2014/main" val="2731983243"/>
                        </a:ext>
                      </a:extLst>
                    </a:gridCol>
                    <a:gridCol w="648072">
                      <a:extLst>
                        <a:ext uri="{9D8B030D-6E8A-4147-A177-3AD203B41FA5}">
                          <a16:colId xmlns:a16="http://schemas.microsoft.com/office/drawing/2014/main" val="2722083553"/>
                        </a:ext>
                      </a:extLst>
                    </a:gridCol>
                    <a:gridCol w="720080">
                      <a:extLst>
                        <a:ext uri="{9D8B030D-6E8A-4147-A177-3AD203B41FA5}">
                          <a16:colId xmlns:a16="http://schemas.microsoft.com/office/drawing/2014/main" val="2678942974"/>
                        </a:ext>
                      </a:extLst>
                    </a:gridCol>
                    <a:gridCol w="936104">
                      <a:extLst>
                        <a:ext uri="{9D8B030D-6E8A-4147-A177-3AD203B41FA5}">
                          <a16:colId xmlns:a16="http://schemas.microsoft.com/office/drawing/2014/main" val="1380255910"/>
                        </a:ext>
                      </a:extLst>
                    </a:gridCol>
                    <a:gridCol w="1074938">
                      <a:extLst>
                        <a:ext uri="{9D8B030D-6E8A-4147-A177-3AD203B41FA5}">
                          <a16:colId xmlns:a16="http://schemas.microsoft.com/office/drawing/2014/main" val="1271002319"/>
                        </a:ext>
                      </a:extLst>
                    </a:gridCol>
                  </a:tblGrid>
                  <a:tr h="572946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Method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/>
                                </m:sSubSup>
                              </m:oMath>
                            </m:oMathPara>
                          </a14:m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  <m:r>
                                  <a:rPr lang="en-US" sz="1800">
                                    <a:effectLst/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8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Power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2171437"/>
                      </a:ext>
                    </a:extLst>
                  </a:tr>
                  <a:tr h="456930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CI: 1:1 randomization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66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66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32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0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750928254"/>
                      </a:ext>
                    </a:extLst>
                  </a:tr>
                  <a:tr h="477622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CI: 1:2 randomization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5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0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2000" dirty="0">
                              <a:solidFill>
                                <a:srgbClr val="C00000"/>
                              </a:solidFill>
                              <a:effectLst/>
                            </a:rPr>
                            <a:t>150</a:t>
                          </a:r>
                          <a:endParaRPr lang="en-US" sz="20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0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26757350"/>
                      </a:ext>
                    </a:extLst>
                  </a:tr>
                  <a:tr h="376982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Data borrowing Synthesis: 1:2 randomization 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9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9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38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2000" dirty="0">
                              <a:solidFill>
                                <a:srgbClr val="C00000"/>
                              </a:solidFill>
                              <a:effectLst/>
                            </a:rPr>
                            <a:t>57</a:t>
                          </a:r>
                          <a:endParaRPr lang="en-US" sz="20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14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876451405"/>
                      </a:ext>
                    </a:extLst>
                  </a:tr>
                  <a:tr h="599796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Data borrowing TCI: 1:2 randomization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solidFill>
                                <a:srgbClr val="C00000"/>
                              </a:solidFill>
                              <a:effectLst/>
                            </a:rPr>
                            <a:t>32</a:t>
                          </a:r>
                          <a:endParaRPr lang="en-US" sz="18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32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64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2000" dirty="0">
                              <a:solidFill>
                                <a:srgbClr val="C00000"/>
                              </a:solidFill>
                              <a:effectLst/>
                            </a:rPr>
                            <a:t>96</a:t>
                          </a:r>
                          <a:endParaRPr lang="en-US" sz="20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1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0401826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05048F34-1A07-4B53-BDAF-FAFE351E337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62057631"/>
                  </p:ext>
                </p:extLst>
              </p:nvPr>
            </p:nvGraphicFramePr>
            <p:xfrm>
              <a:off x="281460" y="2312875"/>
              <a:ext cx="8101782" cy="2484276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074516">
                      <a:extLst>
                        <a:ext uri="{9D8B030D-6E8A-4147-A177-3AD203B41FA5}">
                          <a16:colId xmlns:a16="http://schemas.microsoft.com/office/drawing/2014/main" val="335264446"/>
                        </a:ext>
                      </a:extLst>
                    </a:gridCol>
                    <a:gridCol w="648072">
                      <a:extLst>
                        <a:ext uri="{9D8B030D-6E8A-4147-A177-3AD203B41FA5}">
                          <a16:colId xmlns:a16="http://schemas.microsoft.com/office/drawing/2014/main" val="2731983243"/>
                        </a:ext>
                      </a:extLst>
                    </a:gridCol>
                    <a:gridCol w="648072">
                      <a:extLst>
                        <a:ext uri="{9D8B030D-6E8A-4147-A177-3AD203B41FA5}">
                          <a16:colId xmlns:a16="http://schemas.microsoft.com/office/drawing/2014/main" val="2722083553"/>
                        </a:ext>
                      </a:extLst>
                    </a:gridCol>
                    <a:gridCol w="720080">
                      <a:extLst>
                        <a:ext uri="{9D8B030D-6E8A-4147-A177-3AD203B41FA5}">
                          <a16:colId xmlns:a16="http://schemas.microsoft.com/office/drawing/2014/main" val="2678942974"/>
                        </a:ext>
                      </a:extLst>
                    </a:gridCol>
                    <a:gridCol w="936104">
                      <a:extLst>
                        <a:ext uri="{9D8B030D-6E8A-4147-A177-3AD203B41FA5}">
                          <a16:colId xmlns:a16="http://schemas.microsoft.com/office/drawing/2014/main" val="1380255910"/>
                        </a:ext>
                      </a:extLst>
                    </a:gridCol>
                    <a:gridCol w="1074938">
                      <a:extLst>
                        <a:ext uri="{9D8B030D-6E8A-4147-A177-3AD203B41FA5}">
                          <a16:colId xmlns:a16="http://schemas.microsoft.com/office/drawing/2014/main" val="1271002319"/>
                        </a:ext>
                      </a:extLst>
                    </a:gridCol>
                  </a:tblGrid>
                  <a:tr h="572946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Method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632075" t="-13830" r="-527358" b="-33723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725234" t="-13830" r="-422430" b="-33723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748305" t="-13830" r="-283051" b="-33723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650000" t="-13830" r="-116883" b="-33723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Power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2171437"/>
                      </a:ext>
                    </a:extLst>
                  </a:tr>
                  <a:tr h="456930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CI: 1:1 randomization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66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66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32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0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750928254"/>
                      </a:ext>
                    </a:extLst>
                  </a:tr>
                  <a:tr h="477622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CI: 1:2 randomization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5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0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2000" dirty="0">
                              <a:solidFill>
                                <a:srgbClr val="C00000"/>
                              </a:solidFill>
                              <a:effectLst/>
                            </a:rPr>
                            <a:t>150</a:t>
                          </a:r>
                          <a:endParaRPr lang="en-US" sz="20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0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26757350"/>
                      </a:ext>
                    </a:extLst>
                  </a:tr>
                  <a:tr h="376982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Data borrowing Synthesis: 1:2 randomization 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9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19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38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2000" dirty="0">
                              <a:solidFill>
                                <a:srgbClr val="C00000"/>
                              </a:solidFill>
                              <a:effectLst/>
                            </a:rPr>
                            <a:t>57</a:t>
                          </a:r>
                          <a:endParaRPr lang="en-US" sz="20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14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876451405"/>
                      </a:ext>
                    </a:extLst>
                  </a:tr>
                  <a:tr h="599796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Data borrowing TCI: 1:2 randomization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solidFill>
                                <a:srgbClr val="C00000"/>
                              </a:solidFill>
                              <a:effectLst/>
                            </a:rPr>
                            <a:t>32</a:t>
                          </a:r>
                          <a:endParaRPr lang="en-US" sz="18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32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64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2000" dirty="0">
                              <a:solidFill>
                                <a:srgbClr val="C00000"/>
                              </a:solidFill>
                              <a:effectLst/>
                            </a:rPr>
                            <a:t>96</a:t>
                          </a:r>
                          <a:endParaRPr lang="en-US" sz="2000" dirty="0">
                            <a:solidFill>
                              <a:srgbClr val="C00000"/>
                            </a:solidFill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800" dirty="0">
                              <a:effectLst/>
                            </a:rPr>
                            <a:t>0.810</a:t>
                          </a:r>
                          <a:endParaRPr lang="en-US" sz="18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04018260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0" name="Rectangle 3">
            <a:extLst>
              <a:ext uri="{FF2B5EF4-FFF2-40B4-BE49-F238E27FC236}">
                <a16:creationId xmlns:a16="http://schemas.microsoft.com/office/drawing/2014/main" id="{5A6F0DEF-A47E-41F5-8A16-BB7C38F95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13" y="30448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420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Simulation sett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268760"/>
                <a:ext cx="9001001" cy="4968552"/>
              </a:xfrm>
            </p:spPr>
            <p:txBody>
              <a:bodyPr/>
              <a:lstStyle/>
              <a:p>
                <a:r>
                  <a:rPr lang="en-US" dirty="0"/>
                  <a:t>Two covariates for both studies and separately follow a bivariate normal distribution: 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                                 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mr>
                        </m:m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~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𝑁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𝜂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mr>
                              <m:mr>
                                <m:e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𝜂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mr>
                            </m:m>
                          </m:e>
                        </m:d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</m:d>
                  </m:oMath>
                </a14:m>
                <a:r>
                  <a:rPr lang="en-US" sz="2000" dirty="0"/>
                  <a:t>, </a:t>
                </a:r>
                <a:r>
                  <a:rPr lang="en-US" sz="2000" i="1" dirty="0" err="1"/>
                  <a:t>i</a:t>
                </a:r>
                <a:r>
                  <a:rPr lang="en-US" sz="2000" dirty="0"/>
                  <a:t>=0 and 1</a:t>
                </a:r>
              </a:p>
              <a:p>
                <a:endParaRPr lang="en-US" sz="800" dirty="0"/>
              </a:p>
              <a:p>
                <a:r>
                  <a:rPr lang="en-US" dirty="0"/>
                  <a:t>The propensity score calculated by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                    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Pr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𝑆𝑡𝑢𝑑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𝑁𝐼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𝑟𝑖𝑎𝑙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</m:d>
                      </m:e>
                    </m:func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unc>
                          <m:func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ex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p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d>
                          </m:e>
                        </m:func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1+</m:t>
                        </m:r>
                        <m:func>
                          <m:func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xp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d>
                          </m:e>
                        </m:func>
                      </m:den>
                    </m:f>
                  </m:oMath>
                </a14:m>
                <a:endParaRPr lang="en-US" dirty="0"/>
              </a:p>
              <a:p>
                <a:pPr marL="346075" indent="0">
                  <a:buNone/>
                </a:pPr>
                <a:r>
                  <a:rPr lang="en-US" dirty="0"/>
                  <a:t>for data matching. </a:t>
                </a:r>
              </a:p>
              <a:p>
                <a:pPr marL="346075" indent="0">
                  <a:buNone/>
                </a:pPr>
                <a:endParaRPr lang="en-US" sz="800" dirty="0"/>
              </a:p>
              <a:p>
                <a:r>
                  <a:rPr lang="en-US" dirty="0"/>
                  <a:t>Following </a:t>
                </a:r>
                <a:r>
                  <a:rPr lang="en-US" dirty="0" err="1"/>
                  <a:t>Psioda</a:t>
                </a:r>
                <a:r>
                  <a:rPr lang="en-US" dirty="0"/>
                  <a:t> and Ibrahim (2018), Bayesian method uses power parameter for the power prior 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𝑒𝑥𝑝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−(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𝐵𝐻</m:t>
                                  </m:r>
                                </m:sub>
                              </m:sSub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𝐵</m:t>
                                  </m:r>
                                </m:sub>
                              </m:sSub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  <m:sup/>
                      </m:sSup>
                    </m:oMath>
                  </m:oMathPara>
                </a14:m>
                <a:endParaRPr lang="en-US" dirty="0"/>
              </a:p>
              <a:p>
                <a:endParaRPr lang="en-US" sz="800" dirty="0"/>
              </a:p>
              <a:p>
                <a:r>
                  <a:rPr lang="en-US" dirty="0"/>
                  <a:t>F=0.5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−1.3</m:t>
                    </m:r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3.5</m:t>
                    </m:r>
                  </m:oMath>
                </a14:m>
                <a:r>
                  <a:rPr lang="en-US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3</m:t>
                    </m:r>
                  </m:oMath>
                </a14:m>
                <a:r>
                  <a:rPr lang="en-US" dirty="0"/>
                  <a:t>. </a:t>
                </a:r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268760"/>
                <a:ext cx="9001001" cy="4968552"/>
              </a:xfrm>
              <a:blipFill>
                <a:blip r:embed="rId2"/>
                <a:stretch>
                  <a:fillRect l="-2033" t="-3436" r="-3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5A6F0DEF-A47E-41F5-8A16-BB7C38F95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13" y="30448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32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Acknowledg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7704" y="1340768"/>
            <a:ext cx="5832648" cy="4896544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Zhixing Xu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Meehyung Cho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Yingwen Dong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Nan Jia</a:t>
            </a:r>
          </a:p>
          <a:p>
            <a:endParaRPr lang="en-US" sz="2400" dirty="0">
              <a:solidFill>
                <a:srgbClr val="FF0000"/>
              </a:solidFill>
            </a:endParaRPr>
          </a:p>
          <a:p>
            <a:pPr lvl="1"/>
            <a:endParaRPr lang="en-US" sz="22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901141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323527" y="332656"/>
                <a:ext cx="8424936" cy="432048"/>
              </a:xfrm>
            </p:spPr>
            <p:txBody>
              <a:bodyPr/>
              <a:lstStyle/>
              <a:p>
                <a:pPr algn="ctr"/>
                <a:r>
                  <a:rPr lang="en-US" sz="1800" dirty="0"/>
                  <a:t>Simulation: Type I error probability fo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 &amp;</m:t>
                    </m:r>
                    <m:r>
                      <a:rPr lang="en-US" sz="180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</m:oMath>
                </a14:m>
                <a:endParaRPr lang="en-US" sz="3200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323527" y="332656"/>
                <a:ext cx="8424936" cy="432048"/>
              </a:xfrm>
              <a:blipFill>
                <a:blip r:embed="rId2"/>
                <a:stretch>
                  <a:fillRect t="-2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3" y="1268760"/>
            <a:ext cx="9001001" cy="4968552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5A6F0DEF-A47E-41F5-8A16-BB7C38F95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13" y="30448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5029627A-89FE-4D15-8F0B-CF431B753D53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9537061"/>
                  </p:ext>
                </p:extLst>
              </p:nvPr>
            </p:nvGraphicFramePr>
            <p:xfrm>
              <a:off x="323528" y="836713"/>
              <a:ext cx="8424936" cy="5256582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552677">
                      <a:extLst>
                        <a:ext uri="{9D8B030D-6E8A-4147-A177-3AD203B41FA5}">
                          <a16:colId xmlns:a16="http://schemas.microsoft.com/office/drawing/2014/main" val="1565097088"/>
                        </a:ext>
                      </a:extLst>
                    </a:gridCol>
                    <a:gridCol w="534141">
                      <a:extLst>
                        <a:ext uri="{9D8B030D-6E8A-4147-A177-3AD203B41FA5}">
                          <a16:colId xmlns:a16="http://schemas.microsoft.com/office/drawing/2014/main" val="4133834751"/>
                        </a:ext>
                      </a:extLst>
                    </a:gridCol>
                    <a:gridCol w="503810">
                      <a:extLst>
                        <a:ext uri="{9D8B030D-6E8A-4147-A177-3AD203B41FA5}">
                          <a16:colId xmlns:a16="http://schemas.microsoft.com/office/drawing/2014/main" val="191852043"/>
                        </a:ext>
                      </a:extLst>
                    </a:gridCol>
                    <a:gridCol w="641980">
                      <a:extLst>
                        <a:ext uri="{9D8B030D-6E8A-4147-A177-3AD203B41FA5}">
                          <a16:colId xmlns:a16="http://schemas.microsoft.com/office/drawing/2014/main" val="1468669620"/>
                        </a:ext>
                      </a:extLst>
                    </a:gridCol>
                    <a:gridCol w="967183">
                      <a:extLst>
                        <a:ext uri="{9D8B030D-6E8A-4147-A177-3AD203B41FA5}">
                          <a16:colId xmlns:a16="http://schemas.microsoft.com/office/drawing/2014/main" val="2441256024"/>
                        </a:ext>
                      </a:extLst>
                    </a:gridCol>
                    <a:gridCol w="1024472">
                      <a:extLst>
                        <a:ext uri="{9D8B030D-6E8A-4147-A177-3AD203B41FA5}">
                          <a16:colId xmlns:a16="http://schemas.microsoft.com/office/drawing/2014/main" val="4193570973"/>
                        </a:ext>
                      </a:extLst>
                    </a:gridCol>
                    <a:gridCol w="1192971">
                      <a:extLst>
                        <a:ext uri="{9D8B030D-6E8A-4147-A177-3AD203B41FA5}">
                          <a16:colId xmlns:a16="http://schemas.microsoft.com/office/drawing/2014/main" val="3438124765"/>
                        </a:ext>
                      </a:extLst>
                    </a:gridCol>
                    <a:gridCol w="1192971">
                      <a:extLst>
                        <a:ext uri="{9D8B030D-6E8A-4147-A177-3AD203B41FA5}">
                          <a16:colId xmlns:a16="http://schemas.microsoft.com/office/drawing/2014/main" val="3111612012"/>
                        </a:ext>
                      </a:extLst>
                    </a:gridCol>
                    <a:gridCol w="1814731">
                      <a:extLst>
                        <a:ext uri="{9D8B030D-6E8A-4147-A177-3AD203B41FA5}">
                          <a16:colId xmlns:a16="http://schemas.microsoft.com/office/drawing/2014/main" val="3180618571"/>
                        </a:ext>
                      </a:extLst>
                    </a:gridCol>
                  </a:tblGrid>
                  <a:tr h="677769">
                    <a:tc gridSpan="4"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br>
                            <a:rPr lang="en-US" sz="1400" dirty="0">
                              <a:effectLst/>
                            </a:rPr>
                          </a:br>
                          <a:br>
                            <a:rPr lang="en-US" sz="1400" dirty="0">
                              <a:effectLst/>
                            </a:rPr>
                          </a:b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est with no data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Propensity score data matching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row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Bayesian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extLst>
                      <a:ext uri="{0D108BD9-81ED-4DB2-BD59-A6C34878D82A}">
                        <a16:rowId xmlns:a16="http://schemas.microsoft.com/office/drawing/2014/main" val="3755903835"/>
                      </a:ext>
                    </a:extLst>
                  </a:tr>
                  <a:tr h="410324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en-US" sz="1400">
                                    <a:effectLst/>
                                    <a:latin typeface="Cambria Math" panose="02040503050406030204" pitchFamily="18" charset="0"/>
                                  </a:rPr>
                                  <m:t>σ</m:t>
                                </m:r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μ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A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μ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v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520317749"/>
                      </a:ext>
                    </a:extLst>
                  </a:tr>
                  <a:tr h="218211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1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7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7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096182269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4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1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3629325638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5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407107680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1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.1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313292281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6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791774612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7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3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340733211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2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795332042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628505884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4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977612651"/>
                      </a:ext>
                    </a:extLst>
                  </a:tr>
                  <a:tr h="218211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1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828874650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3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2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936606254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5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8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521814768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3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9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922505529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1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788943592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0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6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3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99401425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6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359478588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1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962732074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3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2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63041601"/>
                      </a:ext>
                    </a:extLst>
                  </a:tr>
                  <a:tr h="218211">
                    <a:tc gridSpan="4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Average Type I erro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6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9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6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0326135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5029627A-89FE-4D15-8F0B-CF431B753D53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9537061"/>
                  </p:ext>
                </p:extLst>
              </p:nvPr>
            </p:nvGraphicFramePr>
            <p:xfrm>
              <a:off x="323528" y="836713"/>
              <a:ext cx="8424936" cy="5256582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552677">
                      <a:extLst>
                        <a:ext uri="{9D8B030D-6E8A-4147-A177-3AD203B41FA5}">
                          <a16:colId xmlns:a16="http://schemas.microsoft.com/office/drawing/2014/main" val="1565097088"/>
                        </a:ext>
                      </a:extLst>
                    </a:gridCol>
                    <a:gridCol w="534141">
                      <a:extLst>
                        <a:ext uri="{9D8B030D-6E8A-4147-A177-3AD203B41FA5}">
                          <a16:colId xmlns:a16="http://schemas.microsoft.com/office/drawing/2014/main" val="4133834751"/>
                        </a:ext>
                      </a:extLst>
                    </a:gridCol>
                    <a:gridCol w="503810">
                      <a:extLst>
                        <a:ext uri="{9D8B030D-6E8A-4147-A177-3AD203B41FA5}">
                          <a16:colId xmlns:a16="http://schemas.microsoft.com/office/drawing/2014/main" val="191852043"/>
                        </a:ext>
                      </a:extLst>
                    </a:gridCol>
                    <a:gridCol w="641980">
                      <a:extLst>
                        <a:ext uri="{9D8B030D-6E8A-4147-A177-3AD203B41FA5}">
                          <a16:colId xmlns:a16="http://schemas.microsoft.com/office/drawing/2014/main" val="1468669620"/>
                        </a:ext>
                      </a:extLst>
                    </a:gridCol>
                    <a:gridCol w="967183">
                      <a:extLst>
                        <a:ext uri="{9D8B030D-6E8A-4147-A177-3AD203B41FA5}">
                          <a16:colId xmlns:a16="http://schemas.microsoft.com/office/drawing/2014/main" val="2441256024"/>
                        </a:ext>
                      </a:extLst>
                    </a:gridCol>
                    <a:gridCol w="1024472">
                      <a:extLst>
                        <a:ext uri="{9D8B030D-6E8A-4147-A177-3AD203B41FA5}">
                          <a16:colId xmlns:a16="http://schemas.microsoft.com/office/drawing/2014/main" val="4193570973"/>
                        </a:ext>
                      </a:extLst>
                    </a:gridCol>
                    <a:gridCol w="1192971">
                      <a:extLst>
                        <a:ext uri="{9D8B030D-6E8A-4147-A177-3AD203B41FA5}">
                          <a16:colId xmlns:a16="http://schemas.microsoft.com/office/drawing/2014/main" val="3438124765"/>
                        </a:ext>
                      </a:extLst>
                    </a:gridCol>
                    <a:gridCol w="1192971">
                      <a:extLst>
                        <a:ext uri="{9D8B030D-6E8A-4147-A177-3AD203B41FA5}">
                          <a16:colId xmlns:a16="http://schemas.microsoft.com/office/drawing/2014/main" val="3111612012"/>
                        </a:ext>
                      </a:extLst>
                    </a:gridCol>
                    <a:gridCol w="1814731">
                      <a:extLst>
                        <a:ext uri="{9D8B030D-6E8A-4147-A177-3AD203B41FA5}">
                          <a16:colId xmlns:a16="http://schemas.microsoft.com/office/drawing/2014/main" val="3180618571"/>
                        </a:ext>
                      </a:extLst>
                    </a:gridCol>
                  </a:tblGrid>
                  <a:tr h="677769">
                    <a:tc gridSpan="4"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br>
                            <a:rPr lang="en-US" sz="1400" dirty="0">
                              <a:effectLst/>
                            </a:rPr>
                          </a:br>
                          <a:br>
                            <a:rPr lang="en-US" sz="1400" dirty="0">
                              <a:effectLst/>
                            </a:rPr>
                          </a:b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est with no data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Propensity score data matching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row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Bayesian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extLst>
                      <a:ext uri="{0D108BD9-81ED-4DB2-BD59-A6C34878D82A}">
                        <a16:rowId xmlns:a16="http://schemas.microsoft.com/office/drawing/2014/main" val="3755903835"/>
                      </a:ext>
                    </a:extLst>
                  </a:tr>
                  <a:tr h="410324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6545" marR="66545" marT="0" marB="0" anchor="ctr">
                        <a:blipFill>
                          <a:blip r:embed="rId3"/>
                          <a:stretch>
                            <a:fillRect l="-1099" t="-164706" r="-1424176" b="-10308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6545" marR="66545" marT="0" marB="0" anchor="ctr">
                        <a:blipFill>
                          <a:blip r:embed="rId3"/>
                          <a:stretch>
                            <a:fillRect l="-105747" t="-164706" r="-1389655" b="-10308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6545" marR="66545" marT="0" marB="0" anchor="ctr">
                        <a:blipFill>
                          <a:blip r:embed="rId3"/>
                          <a:stretch>
                            <a:fillRect l="-215663" t="-164706" r="-1356627" b="-10308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6545" marR="66545" marT="0" marB="0" anchor="ctr">
                        <a:blipFill>
                          <a:blip r:embed="rId3"/>
                          <a:stretch>
                            <a:fillRect l="-249524" t="-164706" r="-972381" b="-10308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ctr"/>
                    </a:tc>
                    <a:tc v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520317749"/>
                      </a:ext>
                    </a:extLst>
                  </a:tr>
                  <a:tr h="218211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1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7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7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096182269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4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1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3629325638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5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407107680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1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.1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313292281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6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791774612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7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3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340733211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2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5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795332042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628505884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4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977612651"/>
                      </a:ext>
                    </a:extLst>
                  </a:tr>
                  <a:tr h="218211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1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828874650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3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2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936606254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5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7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8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521814768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3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9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2922505529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1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788943592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0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6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3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99401425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6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2.6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359478588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1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962732074"/>
                      </a:ext>
                    </a:extLst>
                  </a:tr>
                  <a:tr h="219616"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3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8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2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63041601"/>
                      </a:ext>
                    </a:extLst>
                  </a:tr>
                  <a:tr h="218211">
                    <a:tc gridSpan="4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Average Type I erro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 anchor="b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6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9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6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0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6545" marR="66545" marT="0" marB="0"/>
                    </a:tc>
                    <a:extLst>
                      <a:ext uri="{0D108BD9-81ED-4DB2-BD59-A6C34878D82A}">
                        <a16:rowId xmlns:a16="http://schemas.microsoft.com/office/drawing/2014/main" val="103261357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41762452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79513" y="332656"/>
                <a:ext cx="8305676" cy="648072"/>
              </a:xfrm>
            </p:spPr>
            <p:txBody>
              <a:bodyPr/>
              <a:lstStyle/>
              <a:p>
                <a:pPr algn="ctr"/>
                <a:r>
                  <a:rPr lang="en-US" sz="1800" dirty="0"/>
                  <a:t>Simulation: Power fo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800" b="0" i="0" smtClean="0">
                        <a:latin typeface="Cambria Math" panose="02040503050406030204" pitchFamily="18" charset="0"/>
                      </a:rPr>
                      <m:t>and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</m:oMath>
                </a14:m>
                <a:endParaRPr lang="en-US" sz="1800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79513" y="332656"/>
                <a:ext cx="8305676" cy="648072"/>
              </a:xfrm>
              <a:blipFill>
                <a:blip r:embed="rId2"/>
                <a:stretch>
                  <a:fillRect t="-160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3" y="1268760"/>
            <a:ext cx="9001001" cy="4968552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5A6F0DEF-A47E-41F5-8A16-BB7C38F95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13" y="30448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7BACA94D-DAFC-4149-B548-582DB07A73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73672526"/>
                  </p:ext>
                </p:extLst>
              </p:nvPr>
            </p:nvGraphicFramePr>
            <p:xfrm>
              <a:off x="251520" y="980729"/>
              <a:ext cx="8496944" cy="5129111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19750">
                      <a:extLst>
                        <a:ext uri="{9D8B030D-6E8A-4147-A177-3AD203B41FA5}">
                          <a16:colId xmlns:a16="http://schemas.microsoft.com/office/drawing/2014/main" val="3787570141"/>
                        </a:ext>
                      </a:extLst>
                    </a:gridCol>
                    <a:gridCol w="538707">
                      <a:extLst>
                        <a:ext uri="{9D8B030D-6E8A-4147-A177-3AD203B41FA5}">
                          <a16:colId xmlns:a16="http://schemas.microsoft.com/office/drawing/2014/main" val="2506024812"/>
                        </a:ext>
                      </a:extLst>
                    </a:gridCol>
                    <a:gridCol w="706946">
                      <a:extLst>
                        <a:ext uri="{9D8B030D-6E8A-4147-A177-3AD203B41FA5}">
                          <a16:colId xmlns:a16="http://schemas.microsoft.com/office/drawing/2014/main" val="956533526"/>
                        </a:ext>
                      </a:extLst>
                    </a:gridCol>
                    <a:gridCol w="669560">
                      <a:extLst>
                        <a:ext uri="{9D8B030D-6E8A-4147-A177-3AD203B41FA5}">
                          <a16:colId xmlns:a16="http://schemas.microsoft.com/office/drawing/2014/main" val="3437242234"/>
                        </a:ext>
                      </a:extLst>
                    </a:gridCol>
                    <a:gridCol w="1023032">
                      <a:extLst>
                        <a:ext uri="{9D8B030D-6E8A-4147-A177-3AD203B41FA5}">
                          <a16:colId xmlns:a16="http://schemas.microsoft.com/office/drawing/2014/main" val="2045156156"/>
                        </a:ext>
                      </a:extLst>
                    </a:gridCol>
                    <a:gridCol w="1145388">
                      <a:extLst>
                        <a:ext uri="{9D8B030D-6E8A-4147-A177-3AD203B41FA5}">
                          <a16:colId xmlns:a16="http://schemas.microsoft.com/office/drawing/2014/main" val="900844888"/>
                        </a:ext>
                      </a:extLst>
                    </a:gridCol>
                    <a:gridCol w="1203166">
                      <a:extLst>
                        <a:ext uri="{9D8B030D-6E8A-4147-A177-3AD203B41FA5}">
                          <a16:colId xmlns:a16="http://schemas.microsoft.com/office/drawing/2014/main" val="3247785244"/>
                        </a:ext>
                      </a:extLst>
                    </a:gridCol>
                    <a:gridCol w="1108001">
                      <a:extLst>
                        <a:ext uri="{9D8B030D-6E8A-4147-A177-3AD203B41FA5}">
                          <a16:colId xmlns:a16="http://schemas.microsoft.com/office/drawing/2014/main" val="1184447119"/>
                        </a:ext>
                      </a:extLst>
                    </a:gridCol>
                    <a:gridCol w="1682394">
                      <a:extLst>
                        <a:ext uri="{9D8B030D-6E8A-4147-A177-3AD203B41FA5}">
                          <a16:colId xmlns:a16="http://schemas.microsoft.com/office/drawing/2014/main" val="1619785852"/>
                        </a:ext>
                      </a:extLst>
                    </a:gridCol>
                  </a:tblGrid>
                  <a:tr h="449410">
                    <a:tc gridSpan="4"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br>
                            <a:rPr lang="en-US" sz="1400" dirty="0">
                              <a:effectLst/>
                            </a:rPr>
                          </a:b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est with no data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Propensity score        data matching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Bayesian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3645769980"/>
                      </a:ext>
                    </a:extLst>
                  </a:tr>
                  <a:tr h="240257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>
                                    <a:effectLst/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oMath>
                            </m:oMathPara>
                          </a14:m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Synthesis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1466448633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9.4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2.8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8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03001908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5.1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7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8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087180704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6.9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6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2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873907887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9.4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2.8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8.2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9.6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9.0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13911764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7.0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1.2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2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5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3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557407885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6.9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0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1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88529861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0.7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3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7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.5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7.5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095160436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9.4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2.8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8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81012121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5.1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2.3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8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65086362"/>
                      </a:ext>
                    </a:extLst>
                  </a:tr>
                  <a:tr h="229892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8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1.8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2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7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2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06376293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2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1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3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1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9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89682028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9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4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0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1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57578122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9.9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3.2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2.5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9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979602247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5.7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8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2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9.8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44717213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6.0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2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4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1.4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502296367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1.4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5.4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9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8.7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652800189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8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1.8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2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7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2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752180799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2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1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3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9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94827573"/>
                      </a:ext>
                    </a:extLst>
                  </a:tr>
                  <a:tr h="233864">
                    <a:tc gridSpan="4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Average powe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6.4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0.1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3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1943431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7BACA94D-DAFC-4149-B548-582DB07A73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73672526"/>
                  </p:ext>
                </p:extLst>
              </p:nvPr>
            </p:nvGraphicFramePr>
            <p:xfrm>
              <a:off x="251520" y="980729"/>
              <a:ext cx="8496944" cy="5129111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19750">
                      <a:extLst>
                        <a:ext uri="{9D8B030D-6E8A-4147-A177-3AD203B41FA5}">
                          <a16:colId xmlns:a16="http://schemas.microsoft.com/office/drawing/2014/main" val="3787570141"/>
                        </a:ext>
                      </a:extLst>
                    </a:gridCol>
                    <a:gridCol w="538707">
                      <a:extLst>
                        <a:ext uri="{9D8B030D-6E8A-4147-A177-3AD203B41FA5}">
                          <a16:colId xmlns:a16="http://schemas.microsoft.com/office/drawing/2014/main" val="2506024812"/>
                        </a:ext>
                      </a:extLst>
                    </a:gridCol>
                    <a:gridCol w="706946">
                      <a:extLst>
                        <a:ext uri="{9D8B030D-6E8A-4147-A177-3AD203B41FA5}">
                          <a16:colId xmlns:a16="http://schemas.microsoft.com/office/drawing/2014/main" val="956533526"/>
                        </a:ext>
                      </a:extLst>
                    </a:gridCol>
                    <a:gridCol w="669560">
                      <a:extLst>
                        <a:ext uri="{9D8B030D-6E8A-4147-A177-3AD203B41FA5}">
                          <a16:colId xmlns:a16="http://schemas.microsoft.com/office/drawing/2014/main" val="3437242234"/>
                        </a:ext>
                      </a:extLst>
                    </a:gridCol>
                    <a:gridCol w="1023032">
                      <a:extLst>
                        <a:ext uri="{9D8B030D-6E8A-4147-A177-3AD203B41FA5}">
                          <a16:colId xmlns:a16="http://schemas.microsoft.com/office/drawing/2014/main" val="2045156156"/>
                        </a:ext>
                      </a:extLst>
                    </a:gridCol>
                    <a:gridCol w="1145388">
                      <a:extLst>
                        <a:ext uri="{9D8B030D-6E8A-4147-A177-3AD203B41FA5}">
                          <a16:colId xmlns:a16="http://schemas.microsoft.com/office/drawing/2014/main" val="900844888"/>
                        </a:ext>
                      </a:extLst>
                    </a:gridCol>
                    <a:gridCol w="1203166">
                      <a:extLst>
                        <a:ext uri="{9D8B030D-6E8A-4147-A177-3AD203B41FA5}">
                          <a16:colId xmlns:a16="http://schemas.microsoft.com/office/drawing/2014/main" val="3247785244"/>
                        </a:ext>
                      </a:extLst>
                    </a:gridCol>
                    <a:gridCol w="1108001">
                      <a:extLst>
                        <a:ext uri="{9D8B030D-6E8A-4147-A177-3AD203B41FA5}">
                          <a16:colId xmlns:a16="http://schemas.microsoft.com/office/drawing/2014/main" val="1184447119"/>
                        </a:ext>
                      </a:extLst>
                    </a:gridCol>
                    <a:gridCol w="1682394">
                      <a:extLst>
                        <a:ext uri="{9D8B030D-6E8A-4147-A177-3AD203B41FA5}">
                          <a16:colId xmlns:a16="http://schemas.microsoft.com/office/drawing/2014/main" val="1619785852"/>
                        </a:ext>
                      </a:extLst>
                    </a:gridCol>
                  </a:tblGrid>
                  <a:tr h="449410">
                    <a:tc gridSpan="4"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br>
                            <a:rPr lang="en-US" sz="1400" dirty="0">
                              <a:effectLst/>
                            </a:rPr>
                          </a:b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est with no data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Propensity score        data matching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Bayesian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3645769980"/>
                      </a:ext>
                    </a:extLst>
                  </a:tr>
                  <a:tr h="24025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1449" t="-210256" r="-1927536" b="-19102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79545" t="-210256" r="-1411364" b="-19102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136207" t="-210256" r="-970690" b="-19102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249091" t="-210256" r="-923636" b="-19102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Synthesis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1466448633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9.4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2.8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8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03001908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5.1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7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8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087180704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6.9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6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2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873907887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9.4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2.8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8.2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9.6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9.0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13911764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7.0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1.2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2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5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3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557407885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6.9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0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1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88529861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0.7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3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7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.5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7.5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095160436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9.4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2.8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8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81012121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5.1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7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2.37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8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65086362"/>
                      </a:ext>
                    </a:extLst>
                  </a:tr>
                  <a:tr h="229892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8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1.8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2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7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2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06376293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2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1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3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1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0.9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89682028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9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4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0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1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57578122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9.9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3.2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2.5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9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979602247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5.7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8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2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9.85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44717213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0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6.0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2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4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1.4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502296367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1.4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5.4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9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8.7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652800189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8.6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1.8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2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7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2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752180799"/>
                      </a:ext>
                    </a:extLst>
                  </a:tr>
                  <a:tr h="2338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2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1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3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1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9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94827573"/>
                      </a:ext>
                    </a:extLst>
                  </a:tr>
                  <a:tr h="233864">
                    <a:tc gridSpan="4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Average powe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6.4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0.1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9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2.3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0.3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1943431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Rectangle 2">
            <a:extLst>
              <a:ext uri="{FF2B5EF4-FFF2-40B4-BE49-F238E27FC236}">
                <a16:creationId xmlns:a16="http://schemas.microsoft.com/office/drawing/2014/main" id="{2D745FC0-72CC-4ABA-8A88-E9C7D6197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6650" y="1423988"/>
            <a:ext cx="890795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9801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79513" y="332656"/>
                <a:ext cx="8305676" cy="648072"/>
              </a:xfrm>
            </p:spPr>
            <p:txBody>
              <a:bodyPr/>
              <a:lstStyle/>
              <a:p>
                <a:pPr algn="ctr"/>
                <a:r>
                  <a:rPr lang="en-US" sz="1800" dirty="0"/>
                  <a:t>Simulation: Power for (2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</a:rPr>
                      <m:t>) </m:t>
                    </m:r>
                    <m:r>
                      <m:rPr>
                        <m:sty m:val="p"/>
                      </m:rPr>
                      <a:rPr lang="en-US" sz="1800">
                        <a:latin typeface="Cambria Math" panose="02040503050406030204" pitchFamily="18" charset="0"/>
                      </a:rPr>
                      <m:t>and</m:t>
                    </m:r>
                    <m:r>
                      <a:rPr lang="en-US" sz="180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𝐻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</m:oMath>
                </a14:m>
                <a:endParaRPr lang="en-US" sz="1800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79513" y="332656"/>
                <a:ext cx="8305676" cy="648072"/>
              </a:xfrm>
              <a:blipFill>
                <a:blip r:embed="rId2"/>
                <a:stretch>
                  <a:fillRect t="-160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3" y="1268760"/>
            <a:ext cx="9001001" cy="4968552"/>
          </a:xfrm>
        </p:spPr>
        <p:txBody>
          <a:bodyPr/>
          <a:lstStyle/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22</a:t>
            </a:fld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335727EC-A5AD-4A22-A940-5A1150D68DD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41641919"/>
                  </p:ext>
                </p:extLst>
              </p:nvPr>
            </p:nvGraphicFramePr>
            <p:xfrm>
              <a:off x="323529" y="692696"/>
              <a:ext cx="8424934" cy="5400596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16192">
                      <a:extLst>
                        <a:ext uri="{9D8B030D-6E8A-4147-A177-3AD203B41FA5}">
                          <a16:colId xmlns:a16="http://schemas.microsoft.com/office/drawing/2014/main" val="2530419551"/>
                        </a:ext>
                      </a:extLst>
                    </a:gridCol>
                    <a:gridCol w="537511">
                      <a:extLst>
                        <a:ext uri="{9D8B030D-6E8A-4147-A177-3AD203B41FA5}">
                          <a16:colId xmlns:a16="http://schemas.microsoft.com/office/drawing/2014/main" val="2982580103"/>
                        </a:ext>
                      </a:extLst>
                    </a:gridCol>
                    <a:gridCol w="638610">
                      <a:extLst>
                        <a:ext uri="{9D8B030D-6E8A-4147-A177-3AD203B41FA5}">
                          <a16:colId xmlns:a16="http://schemas.microsoft.com/office/drawing/2014/main" val="2636085127"/>
                        </a:ext>
                      </a:extLst>
                    </a:gridCol>
                    <a:gridCol w="672309">
                      <a:extLst>
                        <a:ext uri="{9D8B030D-6E8A-4147-A177-3AD203B41FA5}">
                          <a16:colId xmlns:a16="http://schemas.microsoft.com/office/drawing/2014/main" val="3894195151"/>
                        </a:ext>
                      </a:extLst>
                    </a:gridCol>
                    <a:gridCol w="1016047">
                      <a:extLst>
                        <a:ext uri="{9D8B030D-6E8A-4147-A177-3AD203B41FA5}">
                          <a16:colId xmlns:a16="http://schemas.microsoft.com/office/drawing/2014/main" val="1058433718"/>
                        </a:ext>
                      </a:extLst>
                    </a:gridCol>
                    <a:gridCol w="1155900">
                      <a:extLst>
                        <a:ext uri="{9D8B030D-6E8A-4147-A177-3AD203B41FA5}">
                          <a16:colId xmlns:a16="http://schemas.microsoft.com/office/drawing/2014/main" val="949522129"/>
                        </a:ext>
                      </a:extLst>
                    </a:gridCol>
                    <a:gridCol w="1192970">
                      <a:extLst>
                        <a:ext uri="{9D8B030D-6E8A-4147-A177-3AD203B41FA5}">
                          <a16:colId xmlns:a16="http://schemas.microsoft.com/office/drawing/2014/main" val="189827027"/>
                        </a:ext>
                      </a:extLst>
                    </a:gridCol>
                    <a:gridCol w="1125572">
                      <a:extLst>
                        <a:ext uri="{9D8B030D-6E8A-4147-A177-3AD203B41FA5}">
                          <a16:colId xmlns:a16="http://schemas.microsoft.com/office/drawing/2014/main" val="2817638852"/>
                        </a:ext>
                      </a:extLst>
                    </a:gridCol>
                    <a:gridCol w="1669823">
                      <a:extLst>
                        <a:ext uri="{9D8B030D-6E8A-4147-A177-3AD203B41FA5}">
                          <a16:colId xmlns:a16="http://schemas.microsoft.com/office/drawing/2014/main" val="1520576558"/>
                        </a:ext>
                      </a:extLst>
                    </a:gridCol>
                  </a:tblGrid>
                  <a:tr h="472830">
                    <a:tc gridSpan="4"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br>
                            <a:rPr lang="en-US" sz="1400" dirty="0">
                              <a:effectLst/>
                            </a:rPr>
                          </a:b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est with no data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Propensity score data matching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Bayesian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829612458"/>
                      </a:ext>
                    </a:extLst>
                  </a:tr>
                  <a:tr h="252778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>
                                    <a:effectLst/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oMath>
                            </m:oMathPara>
                          </a14:m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483110888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-1.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2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7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217478816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5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2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5.6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5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5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8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275344673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7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2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7.4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2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2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067975215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2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7.8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.9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613769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2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5.6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2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1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9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63607852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2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7.4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2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8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6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2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78849492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7.3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0.5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1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0.0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4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960416437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2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6251072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1.2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5.6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0.5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5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8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344989661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2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5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90594941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0.0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4.3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7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6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0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219290518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7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2.9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6.4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3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461063883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2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8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2.8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8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3493749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6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5.4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2.1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9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85946343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7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1.5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3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4.6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882260065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7.1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0.7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1.4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0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3.4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19508824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2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5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25583604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0.0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4.3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7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6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0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666239060"/>
                      </a:ext>
                    </a:extLst>
                  </a:tr>
                  <a:tr h="246052">
                    <a:tc gridSpan="4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Average powe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6.1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7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1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4.5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85878728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335727EC-A5AD-4A22-A940-5A1150D68DD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41641919"/>
                  </p:ext>
                </p:extLst>
              </p:nvPr>
            </p:nvGraphicFramePr>
            <p:xfrm>
              <a:off x="323529" y="692696"/>
              <a:ext cx="8424934" cy="5400596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416192">
                      <a:extLst>
                        <a:ext uri="{9D8B030D-6E8A-4147-A177-3AD203B41FA5}">
                          <a16:colId xmlns:a16="http://schemas.microsoft.com/office/drawing/2014/main" val="2530419551"/>
                        </a:ext>
                      </a:extLst>
                    </a:gridCol>
                    <a:gridCol w="537511">
                      <a:extLst>
                        <a:ext uri="{9D8B030D-6E8A-4147-A177-3AD203B41FA5}">
                          <a16:colId xmlns:a16="http://schemas.microsoft.com/office/drawing/2014/main" val="2982580103"/>
                        </a:ext>
                      </a:extLst>
                    </a:gridCol>
                    <a:gridCol w="638610">
                      <a:extLst>
                        <a:ext uri="{9D8B030D-6E8A-4147-A177-3AD203B41FA5}">
                          <a16:colId xmlns:a16="http://schemas.microsoft.com/office/drawing/2014/main" val="2636085127"/>
                        </a:ext>
                      </a:extLst>
                    </a:gridCol>
                    <a:gridCol w="672309">
                      <a:extLst>
                        <a:ext uri="{9D8B030D-6E8A-4147-A177-3AD203B41FA5}">
                          <a16:colId xmlns:a16="http://schemas.microsoft.com/office/drawing/2014/main" val="3894195151"/>
                        </a:ext>
                      </a:extLst>
                    </a:gridCol>
                    <a:gridCol w="1016047">
                      <a:extLst>
                        <a:ext uri="{9D8B030D-6E8A-4147-A177-3AD203B41FA5}">
                          <a16:colId xmlns:a16="http://schemas.microsoft.com/office/drawing/2014/main" val="1058433718"/>
                        </a:ext>
                      </a:extLst>
                    </a:gridCol>
                    <a:gridCol w="1155900">
                      <a:extLst>
                        <a:ext uri="{9D8B030D-6E8A-4147-A177-3AD203B41FA5}">
                          <a16:colId xmlns:a16="http://schemas.microsoft.com/office/drawing/2014/main" val="949522129"/>
                        </a:ext>
                      </a:extLst>
                    </a:gridCol>
                    <a:gridCol w="1192970">
                      <a:extLst>
                        <a:ext uri="{9D8B030D-6E8A-4147-A177-3AD203B41FA5}">
                          <a16:colId xmlns:a16="http://schemas.microsoft.com/office/drawing/2014/main" val="189827027"/>
                        </a:ext>
                      </a:extLst>
                    </a:gridCol>
                    <a:gridCol w="1125572">
                      <a:extLst>
                        <a:ext uri="{9D8B030D-6E8A-4147-A177-3AD203B41FA5}">
                          <a16:colId xmlns:a16="http://schemas.microsoft.com/office/drawing/2014/main" val="2817638852"/>
                        </a:ext>
                      </a:extLst>
                    </a:gridCol>
                    <a:gridCol w="1669823">
                      <a:extLst>
                        <a:ext uri="{9D8B030D-6E8A-4147-A177-3AD203B41FA5}">
                          <a16:colId xmlns:a16="http://schemas.microsoft.com/office/drawing/2014/main" val="1520576558"/>
                        </a:ext>
                      </a:extLst>
                    </a:gridCol>
                  </a:tblGrid>
                  <a:tr h="472830">
                    <a:tc gridSpan="4"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br>
                            <a:rPr lang="en-US" sz="1400" dirty="0">
                              <a:effectLst/>
                            </a:rPr>
                          </a:b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Frequentist test with no data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2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Propensity score data matching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Bayesian borrowing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829612458"/>
                      </a:ext>
                    </a:extLst>
                  </a:tr>
                  <a:tr h="25277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1471" t="-204878" r="-1939706" b="-190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77528" t="-204878" r="-1382022" b="-190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151923" t="-204878" r="-1082692" b="-190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blipFill>
                          <a:blip r:embed="rId3"/>
                          <a:stretch>
                            <a:fillRect l="-236036" t="-204878" r="-914414" b="-190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Synthesis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CI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483110888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-1.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2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7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217478816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5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2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5.6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5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5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8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275344673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.7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2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7.4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2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2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6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9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067975215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2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7.8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.9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613769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2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5.6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79.2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1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9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63607852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12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7.4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2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8.7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6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2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78849492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7.3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0.5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1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0.0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4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960416437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2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9.7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0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5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6251072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1.2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5.6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0.5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5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8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344989661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2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5.06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90594941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0.0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4.3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7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62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0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219290518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7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2.9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6.4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3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461063883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48.29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8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2.83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3.8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3493749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6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5.41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2.1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9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85946343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7.7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2.4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1.51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3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4.64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882260065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7.15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0.7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81.48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3.0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3.4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19508824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4.33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.2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2.5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5.06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4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25583604"/>
                      </a:ext>
                    </a:extLst>
                  </a:tr>
                  <a:tr h="24605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.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0.00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4.3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1.79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4.6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95.0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666239060"/>
                      </a:ext>
                    </a:extLst>
                  </a:tr>
                  <a:tr h="246052">
                    <a:tc gridSpan="4"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Average powe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1.97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6.18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0.74%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63.10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94.52%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858787287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2647152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Discu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07503" y="1268760"/>
                <a:ext cx="9001001" cy="4968552"/>
              </a:xfrm>
            </p:spPr>
            <p:txBody>
              <a:bodyPr/>
              <a:lstStyle/>
              <a:p>
                <a:r>
                  <a:rPr lang="en-US" sz="2000" dirty="0"/>
                  <a:t>For NI assessment, h</a:t>
                </a:r>
                <a:r>
                  <a:rPr lang="en-US" sz="2000" dirty="0">
                    <a:sym typeface="Wingdings" panose="05000000000000000000" pitchFamily="2" charset="2"/>
                  </a:rPr>
                  <a:t>istorical data borrowing can substantially increase power</a:t>
                </a:r>
                <a:endParaRPr lang="en-US" sz="2000" dirty="0"/>
              </a:p>
              <a:p>
                <a:r>
                  <a:rPr lang="en-US" sz="2000" dirty="0"/>
                  <a:t>The double use of the historical data for margin specification and inference may create some issues and extra care should be required.</a:t>
                </a:r>
                <a:r>
                  <a:rPr lang="en-US" sz="2000" dirty="0">
                    <a:sym typeface="Wingdings" panose="05000000000000000000" pitchFamily="2" charset="2"/>
                  </a:rPr>
                  <a:t> </a:t>
                </a:r>
              </a:p>
              <a:p>
                <a:pPr lvl="1"/>
                <a:r>
                  <a:rPr lang="en-US" sz="1800" dirty="0">
                    <a:sym typeface="Wingdings" panose="05000000000000000000" pitchFamily="2" charset="2"/>
                  </a:rPr>
                  <a:t>The attenuation of treatment effect over time makes historical data borrowing more likely to control the type I error probability</a:t>
                </a:r>
              </a:p>
              <a:p>
                <a:r>
                  <a:rPr lang="en-US" sz="2000" dirty="0"/>
                  <a:t>Placebo control is not included in the NI trial but the parameter is in the null hypothesis</a:t>
                </a:r>
              </a:p>
              <a:p>
                <a:pPr lvl="1"/>
                <a:r>
                  <a:rPr lang="en-US" sz="1800" dirty="0">
                    <a:sym typeface="Wingdings" panose="05000000000000000000" pitchFamily="2" charset="2"/>
                  </a:rPr>
                  <a:t>Constancy assumption can be partially verified by compar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8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𝐻</m:t>
                        </m:r>
                      </m:sub>
                    </m:sSub>
                  </m:oMath>
                </a14:m>
                <a:r>
                  <a:rPr lang="en-US" sz="1800" dirty="0">
                    <a:sym typeface="Wingdings" panose="05000000000000000000" pitchFamily="2" charset="2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8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8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</m:oMath>
                </a14:m>
                <a:endParaRPr lang="en-US" sz="1800" dirty="0">
                  <a:sym typeface="Wingdings" panose="05000000000000000000" pitchFamily="2" charset="2"/>
                </a:endParaRPr>
              </a:p>
              <a:p>
                <a:r>
                  <a:rPr lang="en-US" sz="2000" dirty="0">
                    <a:sym typeface="Wingdings" panose="05000000000000000000" pitchFamily="2" charset="2"/>
                  </a:rPr>
                  <a:t>Tow-confidence-interval method is very conservative</a:t>
                </a:r>
              </a:p>
              <a:p>
                <a:r>
                  <a:rPr lang="en-US" sz="2000" dirty="0">
                    <a:sym typeface="Wingdings" panose="05000000000000000000" pitchFamily="2" charset="2"/>
                  </a:rPr>
                  <a:t>Simulation should be performed under specific trial setting</a:t>
                </a:r>
              </a:p>
              <a:p>
                <a:r>
                  <a:rPr lang="en-US" sz="2000" dirty="0">
                    <a:sym typeface="Wingdings" panose="05000000000000000000" pitchFamily="2" charset="2"/>
                  </a:rPr>
                  <a:t>To borrow historical data, we can first do data matching to selection patients (covariate consistency) then use Bayesian dynamic borrowing method to regulate the amount of borrowing. </a:t>
                </a:r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7503" y="1268760"/>
                <a:ext cx="9001001" cy="4968552"/>
              </a:xfrm>
              <a:blipFill>
                <a:blip r:embed="rId2"/>
                <a:stretch>
                  <a:fillRect l="-2236" t="-3681" r="-10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5A6F0DEF-A47E-41F5-8A16-BB7C38F95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813" y="30448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2170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Major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1196752"/>
            <a:ext cx="8928991" cy="4824536"/>
          </a:xfrm>
        </p:spPr>
        <p:txBody>
          <a:bodyPr/>
          <a:lstStyle/>
          <a:p>
            <a:pPr lvl="0"/>
            <a:r>
              <a:rPr lang="en-US" sz="1200" dirty="0"/>
              <a:t>US FDA, Non-Inferiority Clinical Trials to Establish Effectiveness: Guidance for Industry (November 2016).</a:t>
            </a:r>
            <a:r>
              <a:rPr lang="en-US" sz="1200" b="1" dirty="0"/>
              <a:t> </a:t>
            </a:r>
            <a:r>
              <a:rPr lang="en-US" sz="1200" dirty="0"/>
              <a:t>Available at </a:t>
            </a:r>
            <a:r>
              <a:rPr lang="en-US" sz="1200" u="sng" dirty="0">
                <a:hlinkClick r:id="rId2"/>
              </a:rPr>
              <a:t>https://www.fda.gov/media/78504/download</a:t>
            </a:r>
            <a:r>
              <a:rPr lang="en-US" sz="1200" dirty="0"/>
              <a:t>, accessed date: August 6, 2020.</a:t>
            </a:r>
          </a:p>
          <a:p>
            <a:pPr lvl="0"/>
            <a:r>
              <a:rPr lang="en-US" sz="1200" dirty="0"/>
              <a:t>S.H Kang, Avoiding ambiguity with the Type I error rate in noninferiority trials. Journal of Biopharmaceutical Statistics. 26 (2016) 452-465. </a:t>
            </a:r>
          </a:p>
          <a:p>
            <a:pPr lvl="0"/>
            <a:r>
              <a:rPr lang="en-US" sz="1200" dirty="0" err="1"/>
              <a:t>H.M.Hung</a:t>
            </a:r>
            <a:r>
              <a:rPr lang="en-US" sz="1200" dirty="0"/>
              <a:t>, S.J Wang and R O’Neill. Issues with statistical risks for testing methods in noninferiority trial without a placebo arm. Journal of Biopharmaceutical Statistics. 17 (2007) 201-213.</a:t>
            </a:r>
          </a:p>
          <a:p>
            <a:pPr lvl="0"/>
            <a:r>
              <a:rPr lang="en-US" sz="1200" dirty="0"/>
              <a:t>S. Y. Wang and S. H. Kang. Strength of evidence of noninferiority trials with the two confidence interval method with random margin. 23 (2013) 307-321.</a:t>
            </a:r>
          </a:p>
          <a:p>
            <a:pPr lvl="0"/>
            <a:r>
              <a:rPr lang="en-US" sz="1200" dirty="0"/>
              <a:t>US FDA, Interacting with the FDA on Complex Innovative Trial Designs for Drugs and Biological Products: </a:t>
            </a:r>
            <a:r>
              <a:rPr lang="en-US" sz="1200" i="1" dirty="0"/>
              <a:t>Draft </a:t>
            </a:r>
            <a:r>
              <a:rPr lang="en-US" sz="1200" i="1" dirty="0" err="1"/>
              <a:t>Draft</a:t>
            </a:r>
            <a:r>
              <a:rPr lang="en-US" sz="1200" i="1" dirty="0"/>
              <a:t> Guidance for Industry </a:t>
            </a:r>
            <a:r>
              <a:rPr lang="en-US" sz="1200" dirty="0"/>
              <a:t>(September </a:t>
            </a:r>
            <a:r>
              <a:rPr lang="en-US" sz="1200" cap="all" dirty="0"/>
              <a:t>2019) </a:t>
            </a:r>
            <a:r>
              <a:rPr lang="en-US" sz="1200" dirty="0"/>
              <a:t>Available at  </a:t>
            </a:r>
            <a:r>
              <a:rPr lang="en-US" sz="1200" u="sng" dirty="0">
                <a:hlinkClick r:id="rId3"/>
              </a:rPr>
              <a:t>https://www.fda.gov/media/130897/download</a:t>
            </a:r>
            <a:r>
              <a:rPr lang="en-US" sz="1200" dirty="0"/>
              <a:t>, accessed date: August 6, 2020..</a:t>
            </a:r>
            <a:endParaRPr lang="en-US" sz="1200" b="1" dirty="0"/>
          </a:p>
          <a:p>
            <a:pPr lvl="0"/>
            <a:r>
              <a:rPr lang="en-US" sz="1200" dirty="0"/>
              <a:t>M H Chen, J G </a:t>
            </a:r>
            <a:r>
              <a:rPr lang="en-US" sz="1200" dirty="0" err="1"/>
              <a:t>Ibrhim</a:t>
            </a:r>
            <a:r>
              <a:rPr lang="en-US" sz="1200" dirty="0"/>
              <a:t>, P Lam, A Yu, and Y Zhang. Bayesian design of noninferiority trials for medical devices using historical data. Biometrics. 67 (2011) 1163-1170.</a:t>
            </a:r>
          </a:p>
          <a:p>
            <a:pPr lvl="0"/>
            <a:r>
              <a:rPr lang="en-US" sz="1200" dirty="0"/>
              <a:t>D </a:t>
            </a:r>
            <a:r>
              <a:rPr lang="en-US" sz="1200" dirty="0" err="1"/>
              <a:t>Dejardin</a:t>
            </a:r>
            <a:r>
              <a:rPr lang="en-US" sz="1200" dirty="0"/>
              <a:t>, P Delmar, C Warne, K Patel, JV </a:t>
            </a:r>
            <a:r>
              <a:rPr lang="en-US" sz="1200" dirty="0" err="1"/>
              <a:t>Rosmalen</a:t>
            </a:r>
            <a:r>
              <a:rPr lang="en-US" sz="1200" dirty="0"/>
              <a:t> and E </a:t>
            </a:r>
            <a:r>
              <a:rPr lang="en-US" sz="1200" dirty="0" err="1"/>
              <a:t>Lesaffre</a:t>
            </a:r>
            <a:r>
              <a:rPr lang="en-US" sz="1200" dirty="0"/>
              <a:t>. Use of a historical control group in a noninferiority trial assessing a new antibacterial treatment: a case study and discussion of practical implementation aspects. Pharmaceutical Statistics. 17 (2018) 169-181.</a:t>
            </a:r>
          </a:p>
          <a:p>
            <a:pPr lvl="0"/>
            <a:r>
              <a:rPr lang="en-US" sz="1200" dirty="0"/>
              <a:t>S. Pocock, The combination of randomized and historical controls in clinical trials, Journal of Chronic Diseases. 29 (1976) 175-188.</a:t>
            </a:r>
          </a:p>
          <a:p>
            <a:pPr lvl="0"/>
            <a:r>
              <a:rPr lang="en-US" sz="1200" dirty="0"/>
              <a:t>B.P. Hobbs, B.P. Carlin, S.J. </a:t>
            </a:r>
            <a:r>
              <a:rPr lang="en-US" sz="1200" dirty="0" err="1"/>
              <a:t>Mandrekar</a:t>
            </a:r>
            <a:r>
              <a:rPr lang="en-US" sz="1200" dirty="0"/>
              <a:t> and D.J. Sargent, Hierarchical commensurate and power prior models for adaptive incorporation of historical information in clinical trials, Biometrics 67 (2011) 1047-1056.</a:t>
            </a:r>
          </a:p>
          <a:p>
            <a:pPr lvl="0"/>
            <a:r>
              <a:rPr lang="en-US" sz="1200" dirty="0"/>
              <a:t>H. Quan, B. Zhang, Y Lan, X Luo and X Chen. Bayesian hypothesis testing with frequentist characteristics. Contemporary Clinical Trials. 2019. </a:t>
            </a:r>
          </a:p>
          <a:p>
            <a:pPr lvl="0"/>
            <a:r>
              <a:rPr lang="en-US" sz="1200" dirty="0"/>
              <a:t>M.A. </a:t>
            </a:r>
            <a:r>
              <a:rPr lang="en-US" sz="1200" dirty="0" err="1"/>
              <a:t>Psioda</a:t>
            </a:r>
            <a:r>
              <a:rPr lang="en-US" sz="1200" dirty="0"/>
              <a:t> and </a:t>
            </a:r>
            <a:r>
              <a:rPr lang="en-US" sz="1200" dirty="0" err="1"/>
              <a:t>J.G.Ibrahim</a:t>
            </a:r>
            <a:r>
              <a:rPr lang="en-US" sz="1200" dirty="0"/>
              <a:t>, Bayesian clinical trial design using historical data that inform the treatment effect, Biostatistics 2018. Doi: 10.1093/biostatistics/kxy009.</a:t>
            </a:r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/>
              <a:t>|</a:t>
            </a:r>
            <a:r>
              <a:rPr lang="fr-FR" sz="900" baseline="16000"/>
              <a:t>        </a:t>
            </a:r>
            <a:fld id="{2CA4D161-081E-4B5F-B944-4251042FFD77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35977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55A3805F-9755-4006-9684-0CEFB55542AA}" type="slidenum">
              <a:rPr lang="fr-FR"/>
              <a:pPr/>
              <a:t>25</a:t>
            </a:fld>
            <a:endParaRPr lang="fr-FR" dirty="0"/>
          </a:p>
        </p:txBody>
      </p:sp>
      <p:sp>
        <p:nvSpPr>
          <p:cNvPr id="107527" name="Rectangle 7"/>
          <p:cNvSpPr>
            <a:spLocks noChangeArrowheads="1"/>
          </p:cNvSpPr>
          <p:nvPr/>
        </p:nvSpPr>
        <p:spPr bwMode="auto">
          <a:xfrm>
            <a:off x="323850" y="908720"/>
            <a:ext cx="8280598" cy="5168230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dirty="0"/>
          </a:p>
        </p:txBody>
      </p:sp>
      <p:sp>
        <p:nvSpPr>
          <p:cNvPr id="107522" name="Rectangle 2"/>
          <p:cNvSpPr>
            <a:spLocks noGrp="1" noChangeArrowheads="1"/>
          </p:cNvSpPr>
          <p:nvPr>
            <p:ph type="title"/>
          </p:nvPr>
        </p:nvSpPr>
        <p:spPr>
          <a:xfrm>
            <a:off x="642939" y="3008313"/>
            <a:ext cx="6665366" cy="841375"/>
          </a:xfrm>
        </p:spPr>
        <p:txBody>
          <a:bodyPr/>
          <a:lstStyle/>
          <a:p>
            <a:pPr algn="ctr"/>
            <a:r>
              <a:rPr lang="en-US" sz="6000" i="1" dirty="0">
                <a:solidFill>
                  <a:srgbClr val="FF0000"/>
                </a:solidFill>
              </a:rPr>
              <a:t>Thank you!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780" y="1340768"/>
            <a:ext cx="8593708" cy="4896544"/>
          </a:xfrm>
        </p:spPr>
        <p:txBody>
          <a:bodyPr/>
          <a:lstStyle/>
          <a:p>
            <a:r>
              <a:rPr lang="en-US" sz="2400" dirty="0"/>
              <a:t>Background </a:t>
            </a:r>
          </a:p>
          <a:p>
            <a:r>
              <a:rPr lang="en-US" sz="2400" dirty="0"/>
              <a:t>Hypotheses </a:t>
            </a:r>
          </a:p>
          <a:p>
            <a:r>
              <a:rPr lang="en-US" sz="2400" dirty="0"/>
              <a:t>Methods: propensity score data matching borrowing: synthesis and two-confidence-interval approaches</a:t>
            </a:r>
          </a:p>
          <a:p>
            <a:r>
              <a:rPr lang="en-US" sz="2400" dirty="0"/>
              <a:t>Conditional power or type I error probability</a:t>
            </a:r>
          </a:p>
          <a:p>
            <a:r>
              <a:rPr lang="en-US" sz="2400" dirty="0"/>
              <a:t>Assessment of effectiveness after NI claim</a:t>
            </a:r>
          </a:p>
          <a:p>
            <a:r>
              <a:rPr lang="en-US" sz="2400" dirty="0"/>
              <a:t>Bayesian historical data borrowing</a:t>
            </a:r>
          </a:p>
          <a:p>
            <a:r>
              <a:rPr lang="en-US" sz="2400" dirty="0"/>
              <a:t>Example</a:t>
            </a:r>
          </a:p>
          <a:p>
            <a:r>
              <a:rPr lang="en-US" sz="2400" dirty="0"/>
              <a:t>Simulation results</a:t>
            </a:r>
          </a:p>
          <a:p>
            <a:r>
              <a:rPr lang="en-US" sz="2400" dirty="0"/>
              <a:t>Discussion </a:t>
            </a:r>
          </a:p>
          <a:p>
            <a:endParaRPr lang="en-US" sz="2400" dirty="0">
              <a:solidFill>
                <a:srgbClr val="FF0000"/>
              </a:solidFill>
            </a:endParaRPr>
          </a:p>
          <a:p>
            <a:pPr lvl="1"/>
            <a:endParaRPr lang="en-US" sz="22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71936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295711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3" y="1196752"/>
            <a:ext cx="8856983" cy="5040560"/>
          </a:xfrm>
        </p:spPr>
        <p:txBody>
          <a:bodyPr/>
          <a:lstStyle/>
          <a:p>
            <a:r>
              <a:rPr lang="en-US" sz="2000" dirty="0"/>
              <a:t>Non-Inferiority (NI) assessment for evaluating</a:t>
            </a:r>
          </a:p>
          <a:p>
            <a:pPr lvl="1"/>
            <a:r>
              <a:rPr lang="en-US" sz="2000" dirty="0">
                <a:solidFill>
                  <a:srgbClr val="FF0000"/>
                </a:solidFill>
              </a:rPr>
              <a:t>A test treatment </a:t>
            </a:r>
            <a:r>
              <a:rPr lang="en-US" sz="2000" u="sng" dirty="0">
                <a:solidFill>
                  <a:srgbClr val="FF0000"/>
                </a:solidFill>
              </a:rPr>
              <a:t>can preserve a proportion </a:t>
            </a:r>
            <a:r>
              <a:rPr lang="en-US" sz="2000" dirty="0">
                <a:solidFill>
                  <a:srgbClr val="FF0000"/>
                </a:solidFill>
              </a:rPr>
              <a:t>of the treatment effect of an active control compared to placebo</a:t>
            </a:r>
          </a:p>
          <a:p>
            <a:endParaRPr lang="en-US" sz="800" dirty="0"/>
          </a:p>
          <a:p>
            <a:r>
              <a:rPr lang="en-US" sz="2000" dirty="0"/>
              <a:t>FDA issued guidance in 2016 focusing on: </a:t>
            </a:r>
          </a:p>
          <a:p>
            <a:endParaRPr lang="en-US" sz="2000" dirty="0">
              <a:solidFill>
                <a:srgbClr val="FF0000"/>
              </a:solidFill>
            </a:endParaRPr>
          </a:p>
          <a:p>
            <a:endParaRPr lang="en-US" sz="2000" dirty="0">
              <a:solidFill>
                <a:srgbClr val="FF0000"/>
              </a:solidFill>
            </a:endParaRPr>
          </a:p>
          <a:p>
            <a:endParaRPr lang="en-US" sz="2000" dirty="0">
              <a:solidFill>
                <a:srgbClr val="FF0000"/>
              </a:solidFill>
            </a:endParaRPr>
          </a:p>
          <a:p>
            <a:endParaRPr lang="en-US" sz="800" dirty="0">
              <a:solidFill>
                <a:srgbClr val="FF0000"/>
              </a:solidFill>
            </a:endParaRPr>
          </a:p>
          <a:p>
            <a:r>
              <a:rPr lang="en-US" sz="2000" dirty="0"/>
              <a:t>With the demonstration of the effect of an active control in historical studies, it will be unethical to include placebo in any follow up trials</a:t>
            </a:r>
          </a:p>
          <a:p>
            <a:r>
              <a:rPr lang="en-US" sz="2000" dirty="0"/>
              <a:t>One goal is to show that the difference between the </a:t>
            </a:r>
            <a:r>
              <a:rPr lang="en-US" sz="2000" dirty="0">
                <a:solidFill>
                  <a:srgbClr val="FF0000"/>
                </a:solidFill>
              </a:rPr>
              <a:t>new test drug</a:t>
            </a:r>
            <a:r>
              <a:rPr lang="en-US" sz="2000" dirty="0"/>
              <a:t> and </a:t>
            </a:r>
            <a:r>
              <a:rPr lang="en-US" sz="2000" dirty="0">
                <a:solidFill>
                  <a:srgbClr val="FF0000"/>
                </a:solidFill>
              </a:rPr>
              <a:t>active control </a:t>
            </a:r>
            <a:r>
              <a:rPr lang="en-US" sz="2000" dirty="0"/>
              <a:t>is small enough to support the conclusion that the new drug is </a:t>
            </a:r>
            <a:r>
              <a:rPr lang="en-US" sz="2000" dirty="0">
                <a:solidFill>
                  <a:srgbClr val="FF0000"/>
                </a:solidFill>
              </a:rPr>
              <a:t>effective</a:t>
            </a:r>
          </a:p>
          <a:p>
            <a:r>
              <a:rPr lang="en-US" sz="2000" dirty="0"/>
              <a:t>There are NI trials not for showing effectiveness: e.g., safety trials</a:t>
            </a:r>
            <a:endParaRPr lang="en-US" sz="2000" dirty="0">
              <a:solidFill>
                <a:srgbClr val="FF0000"/>
              </a:solidFill>
            </a:endParaRPr>
          </a:p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DF1885-25D1-4C99-91A8-38F42AA0B0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8" y="2780928"/>
            <a:ext cx="5760640" cy="10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328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295711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Background and FDA guid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3" y="1196752"/>
            <a:ext cx="8856983" cy="5040560"/>
          </a:xfrm>
        </p:spPr>
        <p:txBody>
          <a:bodyPr/>
          <a:lstStyle/>
          <a:p>
            <a:r>
              <a:rPr lang="en-US" sz="2200" dirty="0"/>
              <a:t>Two categories of trials</a:t>
            </a:r>
          </a:p>
          <a:p>
            <a:endParaRPr lang="en-US" sz="2200" dirty="0"/>
          </a:p>
          <a:p>
            <a:endParaRPr lang="en-US" sz="2200" dirty="0"/>
          </a:p>
          <a:p>
            <a:endParaRPr lang="en-US" sz="2200" dirty="0"/>
          </a:p>
          <a:p>
            <a:endParaRPr lang="en-US" sz="2200" dirty="0"/>
          </a:p>
          <a:p>
            <a:endParaRPr lang="en-US" sz="2200" dirty="0"/>
          </a:p>
          <a:p>
            <a:endParaRPr lang="en-US" sz="2200" dirty="0"/>
          </a:p>
          <a:p>
            <a:endParaRPr lang="en-US" sz="1600" dirty="0"/>
          </a:p>
          <a:p>
            <a:r>
              <a:rPr lang="en-US" sz="2200" dirty="0">
                <a:solidFill>
                  <a:srgbClr val="FF0000"/>
                </a:solidFill>
              </a:rPr>
              <a:t>First briefly highlight the FDA guidance on statistical approaches for NI margin specifications and NI assessment, then align the historical data borrowing methods with the guidance.</a:t>
            </a:r>
          </a:p>
          <a:p>
            <a:pPr marL="0" indent="0">
              <a:buNone/>
            </a:pPr>
            <a:r>
              <a:rPr lang="en-US" sz="2200" dirty="0"/>
              <a:t> 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E4F6770-9ABE-4F94-BB1D-B6204814B1BC}"/>
              </a:ext>
            </a:extLst>
          </p:cNvPr>
          <p:cNvSpPr/>
          <p:nvPr/>
        </p:nvSpPr>
        <p:spPr>
          <a:xfrm>
            <a:off x="251520" y="2076299"/>
            <a:ext cx="3735594" cy="128069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periority tr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sult is entirely interpretable without further assum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sult speaks for itsel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263A3327-EC8A-4E64-B8A7-CF8668CD8576}"/>
                  </a:ext>
                </a:extLst>
              </p:cNvPr>
              <p:cNvSpPr/>
              <p:nvPr/>
            </p:nvSpPr>
            <p:spPr>
              <a:xfrm>
                <a:off x="4059121" y="1412776"/>
                <a:ext cx="4977375" cy="2592288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NI trial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600" dirty="0"/>
                  <a:t>Result depends on something not measured in the study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sz="1600" dirty="0"/>
                  <a:t>The active control has its expected effect in NI trial setting: the trial should be assay sensitive -- hard to verify with no placebo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sz="1600" dirty="0"/>
                  <a:t>Similarity could imply both test drug and active control are effective or neither is effective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sz="1600" dirty="0"/>
                  <a:t>‘NI’ </a:t>
                </a: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</m:oMath>
                </a14:m>
                <a:r>
                  <a:rPr lang="en-US" sz="1600" dirty="0"/>
                  <a:t> effectiveness</a:t>
                </a:r>
              </a:p>
            </p:txBody>
          </p:sp>
        </mc:Choice>
        <mc:Fallback xmlns=""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263A3327-EC8A-4E64-B8A7-CF8668CD857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9121" y="1412776"/>
                <a:ext cx="4977375" cy="2592288"/>
              </a:xfrm>
              <a:prstGeom prst="roundRect">
                <a:avLst/>
              </a:prstGeom>
              <a:blipFill>
                <a:blip r:embed="rId3"/>
                <a:stretch>
                  <a:fillRect t="-233" b="-18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51768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Hypothes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79513" y="1196752"/>
                <a:ext cx="8856983" cy="5040560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,  </m:t>
                        </m:r>
                      </m:sub>
                    </m:sSub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200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2000">
                        <a:latin typeface="Cambria Math" panose="02040503050406030204" pitchFamily="18" charset="0"/>
                      </a:rPr>
                      <m:t>and</m:t>
                    </m:r>
                    <m:r>
                      <a:rPr lang="en-US" sz="200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sz="2000" dirty="0"/>
                  <a:t> true treatment effects of a placebo control A, an active control B and a test treatment C</a:t>
                </a:r>
              </a:p>
              <a:p>
                <a:r>
                  <a:rPr lang="en-US" sz="2000" dirty="0"/>
                  <a:t>Goal for NI: inferior of C versus B is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en-US" sz="2000" dirty="0"/>
                  <a:t> a NI margin </a:t>
                </a:r>
                <a:r>
                  <a:rPr lang="en-US" sz="2000" b="1" i="1" dirty="0">
                    <a:solidFill>
                      <a:srgbClr val="FF0000"/>
                    </a:solidFill>
                  </a:rPr>
                  <a:t>M</a:t>
                </a:r>
              </a:p>
              <a:p>
                <a:r>
                  <a:rPr lang="en-US" sz="2000" dirty="0"/>
                  <a:t>Hypotheses: </a:t>
                </a:r>
              </a:p>
              <a:p>
                <a:pPr marL="0" indent="0">
                  <a:buNone/>
                </a:pPr>
                <a:r>
                  <a:rPr lang="en-US" sz="2000" b="1" i="1" dirty="0">
                    <a:solidFill>
                      <a:srgbClr val="FF0000"/>
                    </a:solidFill>
                  </a:rPr>
                  <a:t>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≥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US" sz="2000" dirty="0"/>
                  <a:t>  and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US" sz="2000" dirty="0"/>
                  <a:t>                       (1)</a:t>
                </a:r>
              </a:p>
              <a:p>
                <a:pPr marL="0" indent="0">
                  <a:buNone/>
                </a:pPr>
                <a:endParaRPr lang="en-US" sz="1000" dirty="0"/>
              </a:p>
              <a:p>
                <a:r>
                  <a:rPr lang="en-US" sz="2000" dirty="0"/>
                  <a:t>If </a:t>
                </a:r>
                <a:r>
                  <a:rPr lang="en-US" sz="2000" i="1" dirty="0"/>
                  <a:t>M</a:t>
                </a:r>
                <a:r>
                  <a:rPr lang="en-US" sz="2000" dirty="0"/>
                  <a:t> is the entire treatment effect of the active control, we have the </a:t>
                </a:r>
                <a:r>
                  <a:rPr lang="en-US" sz="2000" b="1" i="1" dirty="0">
                    <a:solidFill>
                      <a:srgbClr val="FF0000"/>
                    </a:solidFill>
                  </a:rPr>
                  <a:t>M1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=(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/>
                  <a:t> margin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2000" dirty="0"/>
                  <a:t> (1) implies 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                  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&lt;</m:t>
                    </m:r>
                  </m:oMath>
                </a14:m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sz="2000" dirty="0"/>
                  <a:t>    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    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</m:s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&lt;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r>
                  <a:rPr lang="en-US" sz="2000" dirty="0"/>
                  <a:t>     to establish the effectiveness of C</a:t>
                </a:r>
              </a:p>
              <a:p>
                <a:r>
                  <a:rPr lang="en-US" sz="2000" dirty="0"/>
                  <a:t>It is often to choose a smaller margin (</a:t>
                </a:r>
                <a:r>
                  <a:rPr lang="en-US" sz="2000" b="1" i="1" dirty="0">
                    <a:solidFill>
                      <a:srgbClr val="FF0000"/>
                    </a:solidFill>
                  </a:rPr>
                  <a:t>M2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/>
                  <a:t> (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0≤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en-US" sz="2000" dirty="0"/>
                  <a:t>1)</a:t>
                </a:r>
                <a:r>
                  <a:rPr lang="en-US" sz="2000" b="1" i="1" dirty="0">
                    <a:solidFill>
                      <a:srgbClr val="FF0000"/>
                    </a:solidFill>
                  </a:rPr>
                  <a:t> </a:t>
                </a:r>
                <a:r>
                  <a:rPr lang="en-US" sz="2000" dirty="0"/>
                  <a:t>) to show C can preserved a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</m:d>
                    <m:r>
                      <a:rPr lang="en-US" sz="2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000" dirty="0"/>
                  <a:t>fraction of the effect of B. 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2000" dirty="0"/>
                  <a:t>: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&gt;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)(</m:t>
                            </m:r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2000" dirty="0"/>
                  <a:t>   or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(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)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&lt;0</m:t>
                    </m:r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endParaRPr lang="en-US" sz="800" dirty="0"/>
              </a:p>
              <a:p>
                <a:r>
                  <a:rPr lang="en-US" sz="2000" dirty="0"/>
                  <a:t>Both </a:t>
                </a:r>
                <a:r>
                  <a:rPr lang="en-US" sz="2000" b="1" i="1" dirty="0">
                    <a:solidFill>
                      <a:srgbClr val="FF0000"/>
                    </a:solidFill>
                  </a:rPr>
                  <a:t>M1</a:t>
                </a:r>
                <a:r>
                  <a:rPr lang="en-US" sz="2000" dirty="0"/>
                  <a:t> and </a:t>
                </a:r>
                <a:r>
                  <a:rPr lang="en-US" sz="2000" b="1" i="1" dirty="0">
                    <a:solidFill>
                      <a:srgbClr val="FF0000"/>
                    </a:solidFill>
                  </a:rPr>
                  <a:t>M2</a:t>
                </a:r>
                <a:r>
                  <a:rPr lang="en-US" sz="2000" dirty="0"/>
                  <a:t> are not fixed values</a:t>
                </a:r>
              </a:p>
              <a:p>
                <a:pPr marL="0" indent="0">
                  <a:buNone/>
                </a:pPr>
                <a:endParaRPr lang="en-US" sz="24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79513" y="1196752"/>
                <a:ext cx="8856983" cy="5040560"/>
              </a:xfrm>
              <a:blipFill>
                <a:blip r:embed="rId2"/>
                <a:stretch>
                  <a:fillRect l="-2271" t="-3628" r="-2134" b="-4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69576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765" y="350821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Frequentist methods (1/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79513" y="1196752"/>
                <a:ext cx="8856983" cy="5040560"/>
              </a:xfrm>
            </p:spPr>
            <p:txBody>
              <a:bodyPr/>
              <a:lstStyle/>
              <a:p>
                <a:r>
                  <a:rPr lang="en-US" dirty="0"/>
                  <a:t>Hypothesis of focus </a:t>
                </a:r>
                <a:r>
                  <a:rPr lang="en-US" sz="1600" dirty="0"/>
                  <a:t>(all parameters are for the current study setting) </a:t>
                </a:r>
                <a:r>
                  <a:rPr lang="en-US" dirty="0"/>
                  <a:t>(Hung et al 2013) 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/>
                  <a:t>                       (2)</a:t>
                </a:r>
              </a:p>
              <a:p>
                <a:r>
                  <a:rPr lang="en-US" dirty="0"/>
                  <a:t>‘</a:t>
                </a:r>
                <a:r>
                  <a:rPr lang="en-US" dirty="0">
                    <a:solidFill>
                      <a:srgbClr val="FFC000"/>
                    </a:solidFill>
                  </a:rPr>
                  <a:t>Gold Standard</a:t>
                </a:r>
                <a:r>
                  <a:rPr lang="en-US" dirty="0"/>
                  <a:t>’ with all 3 treatments included in the NI trial: rejec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dirty="0"/>
                  <a:t> if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</m:d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acc>
                          <m:accPr>
                            <m:chr m:val="̂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𝜎</m:t>
                    </m:r>
                    <m:rad>
                      <m:radPr>
                        <m:deg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1−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den>
                        </m:f>
                      </m:e>
                    </m:rad>
                  </m:oMath>
                </a14:m>
                <a:r>
                  <a:rPr lang="en-US" dirty="0"/>
                  <a:t>&lt;0</a:t>
                </a:r>
              </a:p>
              <a:p>
                <a:pPr marL="0" indent="0">
                  <a:buNone/>
                </a:pPr>
                <a:endParaRPr lang="en-US" sz="800" dirty="0"/>
              </a:p>
              <a:p>
                <a:r>
                  <a:rPr lang="en-US" dirty="0"/>
                  <a:t>Nonetheless,           </a:t>
                </a:r>
              </a:p>
              <a:p>
                <a:r>
                  <a:rPr lang="en-US" dirty="0"/>
                  <a:t>Some authors test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/>
                  <a:t>                            (3)</a:t>
                </a:r>
              </a:p>
              <a:p>
                <a:pPr marL="0" indent="0">
                  <a:buNone/>
                </a:pPr>
                <a:r>
                  <a:rPr lang="en-US" dirty="0"/>
                  <a:t>  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</a:rPr>
                      <m:t>    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𝐻</m:t>
                        </m:r>
                      </m:sub>
                    </m:sSub>
                  </m:oMath>
                </a14:m>
                <a:r>
                  <a:rPr lang="en-US" dirty="0"/>
                  <a:t> are the true treatment effects of A and B in the historical study setting</a:t>
                </a:r>
              </a:p>
              <a:p>
                <a:endParaRPr lang="en-US" sz="800" dirty="0"/>
              </a:p>
              <a:p>
                <a:r>
                  <a:rPr lang="en-US" dirty="0"/>
                  <a:t>The </a:t>
                </a:r>
                <a:r>
                  <a:rPr lang="en-US" dirty="0">
                    <a:solidFill>
                      <a:srgbClr val="FF0000"/>
                    </a:solidFill>
                  </a:rPr>
                  <a:t>frequentist </a:t>
                </a:r>
                <a:r>
                  <a:rPr lang="en-US" b="1" dirty="0">
                    <a:solidFill>
                      <a:srgbClr val="FF0000"/>
                    </a:solidFill>
                  </a:rPr>
                  <a:t>synthesis</a:t>
                </a:r>
                <a:r>
                  <a:rPr lang="en-US" dirty="0">
                    <a:solidFill>
                      <a:srgbClr val="FF0000"/>
                    </a:solidFill>
                  </a:rPr>
                  <a:t> method </a:t>
                </a:r>
                <a:r>
                  <a:rPr lang="en-US" dirty="0"/>
                  <a:t>claims NI if </a:t>
                </a:r>
              </a:p>
              <a:p>
                <a:pPr marL="0" indent="0">
                  <a:buNone/>
                </a:pPr>
                <a:r>
                  <a:rPr lang="en-US" dirty="0"/>
                  <a:t>      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rad>
                      <m:radPr>
                        <m:deg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sub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sub>
                              <m:sup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num>
                          <m:den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𝐴𝐻</m:t>
                                </m:r>
                              </m:sub>
                            </m:sSub>
                          </m:den>
                        </m:f>
                      </m:e>
                    </m:rad>
                    <m:r>
                      <a:rPr lang="en-US" i="1">
                        <a:latin typeface="Cambria Math" panose="02040503050406030204" pitchFamily="18" charset="0"/>
                      </a:rPr>
                      <m:t>&lt;0</m:t>
                    </m:r>
                  </m:oMath>
                </a14:m>
                <a:endParaRPr lang="en-US" dirty="0"/>
              </a:p>
              <a:p>
                <a:pPr marL="403225" indent="0">
                  <a:buNone/>
                </a:pPr>
                <a:r>
                  <a:rPr lang="en-US" dirty="0"/>
                  <a:t>which controls the type I error rate for (3) but may not for (2) unless under the constancy assumption. </a:t>
                </a:r>
              </a:p>
              <a:p>
                <a:pPr marL="0" indent="0">
                  <a:buNone/>
                </a:pPr>
                <a:endParaRPr lang="en-US" sz="2800" dirty="0"/>
              </a:p>
              <a:p>
                <a:pPr marL="0" indent="0">
                  <a:buNone/>
                </a:pPr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79513" y="1196752"/>
                <a:ext cx="8856983" cy="5040560"/>
              </a:xfrm>
              <a:blipFill>
                <a:blip r:embed="rId2"/>
                <a:stretch>
                  <a:fillRect l="-2065" t="-33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00FF26B-2530-4AE7-9E61-77B8F93E2C96}"/>
              </a:ext>
            </a:extLst>
          </p:cNvPr>
          <p:cNvSpPr/>
          <p:nvPr/>
        </p:nvSpPr>
        <p:spPr>
          <a:xfrm>
            <a:off x="2051720" y="2924944"/>
            <a:ext cx="2520280" cy="4087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&gt;A in historical study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A675F6E-55AF-4B8C-92C3-19811FE2BBEC}"/>
              </a:ext>
            </a:extLst>
          </p:cNvPr>
          <p:cNvSpPr/>
          <p:nvPr/>
        </p:nvSpPr>
        <p:spPr>
          <a:xfrm>
            <a:off x="5076056" y="2996952"/>
            <a:ext cx="3168352" cy="3310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nethical to have A in NI trial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6EB0696F-069B-4065-84A8-74970D3D65A4}"/>
              </a:ext>
            </a:extLst>
          </p:cNvPr>
          <p:cNvSpPr/>
          <p:nvPr/>
        </p:nvSpPr>
        <p:spPr>
          <a:xfrm>
            <a:off x="4644008" y="2924944"/>
            <a:ext cx="360040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220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Frequentist methods (2/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79513" y="1196752"/>
                <a:ext cx="8856983" cy="5040560"/>
              </a:xfrm>
            </p:spPr>
            <p:txBody>
              <a:bodyPr/>
              <a:lstStyle/>
              <a:p>
                <a:r>
                  <a:rPr lang="en-US" sz="2000" dirty="0"/>
                  <a:t>Due to the concern that the constancy assumption may not hold, the FDA guidance also proposes the use of a conservative two-confidence-interval (TCI) method:</a:t>
                </a:r>
              </a:p>
              <a:p>
                <a:endParaRPr lang="en-US" sz="800" dirty="0"/>
              </a:p>
              <a:p>
                <a:r>
                  <a:rPr lang="en-US" sz="2000" dirty="0"/>
                  <a:t>A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</m:d>
                    <m:r>
                      <a:rPr lang="en-US" sz="2000" i="1">
                        <a:latin typeface="Cambria Math" panose="02040503050406030204" pitchFamily="18" charset="0"/>
                      </a:rPr>
                      <m:t>×100% </m:t>
                    </m:r>
                  </m:oMath>
                </a14:m>
                <a:r>
                  <a:rPr lang="en-US" sz="2000" dirty="0"/>
                  <a:t>confidence lower bound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n-US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nor/>
                              </m:rPr>
                              <a:rPr lang="en-US" sz="2000" dirty="0"/>
                              <m:t>(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𝐴𝐻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/>
                  <a:t>  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1′ </m:t>
                    </m:r>
                    <m:r>
                      <a:rPr lang="en-US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2′)</m:t>
                    </m:r>
                    <m:r>
                      <m:rPr>
                        <m:nor/>
                      </m:rPr>
                      <a:rPr lang="en-US" sz="2000" b="0" i="0" dirty="0" smtClean="0"/>
                      <m:t>=</m:t>
                    </m:r>
                    <m:r>
                      <a:rPr lang="en-US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200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𝐹</m:t>
                    </m:r>
                    <m:r>
                      <a:rPr lang="en-US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)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sub>
                        </m:sSub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</m:sub>
                        </m:sSub>
                        <m:rad>
                          <m:radPr>
                            <m:degHide m:val="on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𝐵𝐻</m:t>
                                    </m:r>
                                  </m:sub>
                                </m:sSub>
                              </m:den>
                            </m:f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𝐴𝐻</m:t>
                                    </m:r>
                                  </m:sub>
                                </m:sSub>
                              </m:den>
                            </m:f>
                          </m:e>
                        </m:rad>
                      </m:e>
                    </m:d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r>
                  <a:rPr lang="en-US" sz="2000" dirty="0"/>
                  <a:t>     is used as the NI ‘margin’.</a:t>
                </a:r>
              </a:p>
              <a:p>
                <a:pPr marL="0" indent="0">
                  <a:buNone/>
                </a:pPr>
                <a:endParaRPr lang="en-US" sz="800" dirty="0"/>
              </a:p>
              <a:p>
                <a:r>
                  <a:rPr lang="en-US" sz="2000" dirty="0">
                    <a:solidFill>
                      <a:srgbClr val="FF0000"/>
                    </a:solidFill>
                  </a:rPr>
                  <a:t>Frequentist TCI </a:t>
                </a:r>
                <a:r>
                  <a:rPr lang="en-US" sz="2000" dirty="0"/>
                  <a:t>approach claims the NI if the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</m:d>
                    <m:r>
                      <a:rPr lang="en-US" sz="2000" i="1">
                        <a:latin typeface="Cambria Math" panose="02040503050406030204" pitchFamily="18" charset="0"/>
                      </a:rPr>
                      <m:t>×100%</m:t>
                    </m:r>
                  </m:oMath>
                </a14:m>
                <a:r>
                  <a:rPr lang="en-US" sz="2000" dirty="0"/>
                  <a:t> confidence upper bound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/>
                  <a:t> </a:t>
                </a:r>
              </a:p>
              <a:p>
                <a:pPr marL="0" indent="0">
                  <a:buNone/>
                </a:pPr>
                <a:r>
                  <a:rPr lang="en-US" sz="2000" dirty="0"/>
                  <a:t>               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𝜎</m:t>
                    </m:r>
                    <m:rad>
                      <m:radPr>
                        <m:degHide m:val="on"/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den>
                        </m:f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den>
                        </m:f>
                      </m:e>
                    </m:rad>
                    <m:r>
                      <a:rPr lang="en-US" sz="2000" i="1"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2′</m:t>
                    </m:r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r>
                  <a:rPr lang="en-US" sz="2000" dirty="0"/>
                  <a:t>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</m:acc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𝐵𝐻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̂"/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𝜇</m:t>
                                </m:r>
                              </m:e>
                            </m:acc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𝐴𝐻</m:t>
                            </m:r>
                          </m:sub>
                        </m:sSub>
                      </m:e>
                    </m:d>
                    <m:r>
                      <a:rPr lang="en-US" sz="20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rad>
                      <m:radPr>
                        <m:degHide m:val="on"/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p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</m:den>
                        </m:f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e>
                              <m:sup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sub>
                            </m:sSub>
                          </m:den>
                        </m:f>
                      </m:e>
                    </m:rad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𝛼</m:t>
                        </m:r>
                      </m:sub>
                    </m:sSub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𝐹</m:t>
                    </m:r>
                    <m:rad>
                      <m:radPr>
                        <m:degHide m:val="on"/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𝐵𝐻</m:t>
                                </m:r>
                              </m:sub>
                            </m:sSub>
                          </m:den>
                        </m:f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  <m:sub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𝐴𝐻</m:t>
                                </m:r>
                              </m:sub>
                            </m:sSub>
                          </m:den>
                        </m:f>
                      </m:e>
                    </m:rad>
                    <m:r>
                      <a:rPr lang="en-US" sz="2000" i="1">
                        <a:latin typeface="Cambria Math" panose="02040503050406030204" pitchFamily="18" charset="0"/>
                      </a:rPr>
                      <m:t>&lt;0</m:t>
                    </m:r>
                  </m:oMath>
                </a14:m>
                <a:endParaRPr lang="en-US" sz="2000" dirty="0"/>
              </a:p>
              <a:p>
                <a:pPr marL="0" indent="0">
                  <a:buNone/>
                </a:pPr>
                <a:endParaRPr lang="en-US" sz="2800" dirty="0"/>
              </a:p>
              <a:p>
                <a:pPr marL="0" indent="0">
                  <a:buNone/>
                </a:pPr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200" dirty="0"/>
              </a:p>
              <a:p>
                <a:endParaRPr lang="en-US" sz="2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79513" y="1196752"/>
                <a:ext cx="8856983" cy="5040560"/>
              </a:xfrm>
              <a:blipFill>
                <a:blip r:embed="rId2"/>
                <a:stretch>
                  <a:fillRect l="-2271" t="-35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12631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3" y="332656"/>
            <a:ext cx="8305676" cy="648072"/>
          </a:xfrm>
        </p:spPr>
        <p:txBody>
          <a:bodyPr/>
          <a:lstStyle/>
          <a:p>
            <a:pPr algn="ctr"/>
            <a:r>
              <a:rPr lang="en-US" sz="3200" dirty="0"/>
              <a:t>Historical data borrow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3" y="1196752"/>
            <a:ext cx="8856983" cy="5040560"/>
          </a:xfrm>
        </p:spPr>
        <p:txBody>
          <a:bodyPr/>
          <a:lstStyle/>
          <a:p>
            <a:r>
              <a:rPr lang="en-US" sz="2200" dirty="0"/>
              <a:t>Recruiting patients is challenging particularly in rare disease areas</a:t>
            </a:r>
          </a:p>
          <a:p>
            <a:r>
              <a:rPr lang="en-US" sz="2200" dirty="0"/>
              <a:t>It is desirable to utilize historical data </a:t>
            </a:r>
          </a:p>
          <a:p>
            <a:pPr lvl="1"/>
            <a:r>
              <a:rPr lang="en-US" sz="2000" dirty="0"/>
              <a:t>Motivation: one oncology study and one rare disease study </a:t>
            </a:r>
          </a:p>
          <a:p>
            <a:r>
              <a:rPr lang="en-US" sz="2200" dirty="0"/>
              <a:t>Historical data will be used twice for NI Margin &amp; inference  </a:t>
            </a:r>
          </a:p>
          <a:p>
            <a:pPr lvl="1"/>
            <a:r>
              <a:rPr lang="en-US" sz="2000" dirty="0">
                <a:solidFill>
                  <a:srgbClr val="FF0000"/>
                </a:solidFill>
              </a:rPr>
              <a:t>Further precaution is necessary</a:t>
            </a:r>
          </a:p>
          <a:p>
            <a:endParaRPr lang="en-US" sz="800" dirty="0"/>
          </a:p>
          <a:p>
            <a:r>
              <a:rPr lang="en-US" sz="2200" dirty="0"/>
              <a:t>FDA issued guidance on CID in 2020. CIDs include Bayesian design/historical data borrowing</a:t>
            </a:r>
          </a:p>
          <a:p>
            <a:endParaRPr lang="en-US" sz="2200" dirty="0">
              <a:solidFill>
                <a:srgbClr val="FF0000"/>
              </a:solidFill>
            </a:endParaRP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>
              <a:solidFill>
                <a:srgbClr val="FF0000"/>
              </a:solidFill>
            </a:endParaRPr>
          </a:p>
          <a:p>
            <a:pPr lvl="1"/>
            <a:endParaRPr lang="en-US" sz="22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/>
              <a:t>|</a:t>
            </a:r>
            <a:r>
              <a:rPr lang="fr-FR" sz="900" baseline="16000" dirty="0"/>
              <a:t>        </a:t>
            </a:r>
            <a:fld id="{2CA4D161-081E-4B5F-B944-4251042FFD77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193F4A-39BF-4793-BC40-9BACF2D4FC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462" y="3933056"/>
            <a:ext cx="8601075" cy="7200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BB9857-80BE-4209-9B37-849A9608B3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434" y="4801593"/>
            <a:ext cx="8857129" cy="1287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446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PR2T9OT_.CMLTRzmnzVw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onception personnalisée">
  <a:themeElements>
    <a:clrScheme name="1_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1_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SANOFI">
  <a:themeElements>
    <a:clrScheme name="凤舞九天">
      <a:dk1>
        <a:sysClr val="windowText" lastClr="000000"/>
      </a:dk1>
      <a:lt1>
        <a:sysClr val="window" lastClr="FFFFFF"/>
      </a:lt1>
      <a:dk2>
        <a:srgbClr val="004646"/>
      </a:dk2>
      <a:lt2>
        <a:srgbClr val="E1F0FF"/>
      </a:lt2>
      <a:accent1>
        <a:srgbClr val="50742F"/>
      </a:accent1>
      <a:accent2>
        <a:srgbClr val="268868"/>
      </a:accent2>
      <a:accent3>
        <a:srgbClr val="33BD56"/>
      </a:accent3>
      <a:accent4>
        <a:srgbClr val="4BC5B9"/>
      </a:accent4>
      <a:accent5>
        <a:srgbClr val="3163CA"/>
      </a:accent5>
      <a:accent6>
        <a:srgbClr val="4B14AA"/>
      </a:accent6>
      <a:hlink>
        <a:srgbClr val="D9BE02"/>
      </a:hlink>
      <a:folHlink>
        <a:srgbClr val="F900F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>
          <a:blip xmlns:r="http://schemas.openxmlformats.org/officeDocument/2006/relationships" r:embed="rId1" cstate="print"/>
          <a:stretch>
            <a:fillRect/>
          </a:stretch>
        </a:blipFill>
        <a:ln w="28575">
          <a:solidFill>
            <a:schemeClr val="bg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D88E6702B03D4CABAA75997B0483D5" ma:contentTypeVersion="9" ma:contentTypeDescription="Create a new document." ma:contentTypeScope="" ma:versionID="8c57fdc94024385f389efb8ce2ee5dfd">
  <xsd:schema xmlns:xsd="http://www.w3.org/2001/XMLSchema" xmlns:xs="http://www.w3.org/2001/XMLSchema" xmlns:p="http://schemas.microsoft.com/office/2006/metadata/properties" xmlns:ns3="79a79706-6f87-4f39-80a6-7d40bc2f333b" targetNamespace="http://schemas.microsoft.com/office/2006/metadata/properties" ma:root="true" ma:fieldsID="79a23d328d3c57402d8c8cd12741b4cf" ns3:_="">
    <xsd:import namespace="79a79706-6f87-4f39-80a6-7d40bc2f333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a79706-6f87-4f39-80a6-7d40bc2f33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A7A730F-BA3C-4A3E-95B7-8A965969F3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46BB46-A47B-459E-9F42-EAD42DCBB3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a79706-6f87-4f39-80a6-7d40bc2f33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7A47AD5-0BA9-4633-8EC9-5BFDFFE492D1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79a79706-6f87-4f39-80a6-7d40bc2f333b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872</TotalTime>
  <Words>3243</Words>
  <Application>Microsoft Office PowerPoint</Application>
  <PresentationFormat>On-screen Show (4:3)</PresentationFormat>
  <Paragraphs>820</Paragraphs>
  <Slides>2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Cambria Math</vt:lpstr>
      <vt:lpstr>Verdana</vt:lpstr>
      <vt:lpstr>Conception personnalisée</vt:lpstr>
      <vt:lpstr>1_Conception personnalisée</vt:lpstr>
      <vt:lpstr>Thème SANOFI</vt:lpstr>
      <vt:lpstr>think-cell Slide</vt:lpstr>
      <vt:lpstr>Historical data borrowing for non-inferiority assessment                Hui Quan                   DIA BSWG KOL Webinar Series                 March 19, 2021</vt:lpstr>
      <vt:lpstr>Acknowledgements</vt:lpstr>
      <vt:lpstr>Outline</vt:lpstr>
      <vt:lpstr>Background</vt:lpstr>
      <vt:lpstr>Background and FDA guidance</vt:lpstr>
      <vt:lpstr>Hypotheses</vt:lpstr>
      <vt:lpstr>Frequentist methods (1/2)</vt:lpstr>
      <vt:lpstr>Frequentist methods (2/2)</vt:lpstr>
      <vt:lpstr>Historical data borrowing</vt:lpstr>
      <vt:lpstr>Propensity score data matching and borrowing</vt:lpstr>
      <vt:lpstr>Unconditional type I error rate (1/2)</vt:lpstr>
      <vt:lpstr>Unconditional type I error rate (2/2)</vt:lpstr>
      <vt:lpstr>Conditional power and type I error probability (1/2)</vt:lpstr>
      <vt:lpstr>Conditional power and type I error probability (2/2)</vt:lpstr>
      <vt:lpstr>Type I error rate of claiming efficacy of C vs A</vt:lpstr>
      <vt:lpstr>Bayesian method</vt:lpstr>
      <vt:lpstr>Example (1/2)</vt:lpstr>
      <vt:lpstr>Example (2/2)</vt:lpstr>
      <vt:lpstr>Simulation setting</vt:lpstr>
      <vt:lpstr>Simulation: Type I error probability for (n_B=n_C) &amp; n_BH1≤n_B</vt:lpstr>
      <vt:lpstr>Simulation: Power for (n_B=n_C) and n_BH1≤n_B</vt:lpstr>
      <vt:lpstr>Simulation: Power for (2n_B=n_C) and n_BH1≤n_B</vt:lpstr>
      <vt:lpstr>Discussion</vt:lpstr>
      <vt:lpstr>Major references</vt:lpstr>
      <vt:lpstr>Thank you!</vt:lpstr>
    </vt:vector>
  </TitlesOfParts>
  <Company>Planet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Planet7-PC</dc:creator>
  <cp:lastModifiedBy>Quan, Hui /US</cp:lastModifiedBy>
  <cp:revision>1336</cp:revision>
  <cp:lastPrinted>2020-09-04T19:51:34Z</cp:lastPrinted>
  <dcterms:created xsi:type="dcterms:W3CDTF">2011-05-25T17:46:34Z</dcterms:created>
  <dcterms:modified xsi:type="dcterms:W3CDTF">2021-03-17T12:3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355234461</vt:i4>
  </property>
  <property fmtid="{D5CDD505-2E9C-101B-9397-08002B2CF9AE}" pid="3" name="_NewReviewCycle">
    <vt:lpwstr/>
  </property>
  <property fmtid="{D5CDD505-2E9C-101B-9397-08002B2CF9AE}" pid="4" name="_EmailSubject">
    <vt:lpwstr/>
  </property>
  <property fmtid="{D5CDD505-2E9C-101B-9397-08002B2CF9AE}" pid="5" name="_AuthorEmail">
    <vt:lpwstr>Cecile.Barkian-Dedeyan@sanofi.com</vt:lpwstr>
  </property>
  <property fmtid="{D5CDD505-2E9C-101B-9397-08002B2CF9AE}" pid="6" name="_AuthorEmailDisplayName">
    <vt:lpwstr>Barkian-Dedeyan, Cecile R&amp;D/FR</vt:lpwstr>
  </property>
  <property fmtid="{D5CDD505-2E9C-101B-9397-08002B2CF9AE}" pid="7" name="ContentTypeId">
    <vt:lpwstr>0x01010076D88E6702B03D4CABAA75997B0483D5</vt:lpwstr>
  </property>
</Properties>
</file>